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39.xml" ContentType="application/vnd.openxmlformats-officedocument.presentationml.tags+xml"/>
  <Override PartName="/ppt/notesSlides/notesSlide7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7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8.xml" ContentType="application/vnd.openxmlformats-officedocument.presentationml.notesSlide+xml"/>
  <Override PartName="/ppt/tags/tag59.xml" ContentType="application/vnd.openxmlformats-officedocument.presentationml.tags+xml"/>
  <Override PartName="/ppt/notesSlides/notesSlide109.xml" ContentType="application/vnd.openxmlformats-officedocument.presentationml.notesSlide+xml"/>
  <Override PartName="/ppt/tags/tag60.xml" ContentType="application/vnd.openxmlformats-officedocument.presentationml.tags+xml"/>
  <Override PartName="/ppt/notesSlides/notesSlide11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11.xml" ContentType="application/vnd.openxmlformats-officedocument.presentationml.notesSlide+xml"/>
  <Override PartName="/ppt/tags/tag69.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815" r:id="rId9"/>
    <p:sldMasterId id="2147483849" r:id="rId10"/>
  </p:sldMasterIdLst>
  <p:notesMasterIdLst>
    <p:notesMasterId r:id="rId204"/>
  </p:notesMasterIdLst>
  <p:sldIdLst>
    <p:sldId id="256" r:id="rId11"/>
    <p:sldId id="814" r:id="rId12"/>
    <p:sldId id="705" r:id="rId13"/>
    <p:sldId id="813" r:id="rId14"/>
    <p:sldId id="815" r:id="rId15"/>
    <p:sldId id="839" r:id="rId16"/>
    <p:sldId id="576" r:id="rId17"/>
    <p:sldId id="544" r:id="rId18"/>
    <p:sldId id="546" r:id="rId19"/>
    <p:sldId id="547" r:id="rId20"/>
    <p:sldId id="632" r:id="rId21"/>
    <p:sldId id="828" r:id="rId22"/>
    <p:sldId id="548" r:id="rId23"/>
    <p:sldId id="622" r:id="rId24"/>
    <p:sldId id="624" r:id="rId25"/>
    <p:sldId id="625" r:id="rId26"/>
    <p:sldId id="623" r:id="rId27"/>
    <p:sldId id="627" r:id="rId28"/>
    <p:sldId id="628" r:id="rId29"/>
    <p:sldId id="803" r:id="rId30"/>
    <p:sldId id="629" r:id="rId31"/>
    <p:sldId id="703" r:id="rId32"/>
    <p:sldId id="704" r:id="rId33"/>
    <p:sldId id="571" r:id="rId34"/>
    <p:sldId id="553" r:id="rId35"/>
    <p:sldId id="804" r:id="rId36"/>
    <p:sldId id="805" r:id="rId37"/>
    <p:sldId id="806" r:id="rId38"/>
    <p:sldId id="807" r:id="rId39"/>
    <p:sldId id="809" r:id="rId40"/>
    <p:sldId id="633" r:id="rId41"/>
    <p:sldId id="637" r:id="rId42"/>
    <p:sldId id="556" r:id="rId43"/>
    <p:sldId id="636" r:id="rId44"/>
    <p:sldId id="635" r:id="rId45"/>
    <p:sldId id="639" r:id="rId46"/>
    <p:sldId id="557" r:id="rId47"/>
    <p:sldId id="642" r:id="rId48"/>
    <p:sldId id="641" r:id="rId49"/>
    <p:sldId id="645" r:id="rId50"/>
    <p:sldId id="561" r:id="rId51"/>
    <p:sldId id="562" r:id="rId52"/>
    <p:sldId id="647" r:id="rId53"/>
    <p:sldId id="564" r:id="rId54"/>
    <p:sldId id="650" r:id="rId55"/>
    <p:sldId id="652" r:id="rId56"/>
    <p:sldId id="649" r:id="rId57"/>
    <p:sldId id="651" r:id="rId58"/>
    <p:sldId id="812" r:id="rId59"/>
    <p:sldId id="709" r:id="rId60"/>
    <p:sldId id="816" r:id="rId61"/>
    <p:sldId id="712" r:id="rId62"/>
    <p:sldId id="1002" r:id="rId63"/>
    <p:sldId id="840" r:id="rId64"/>
    <p:sldId id="684" r:id="rId65"/>
    <p:sldId id="620" r:id="rId66"/>
    <p:sldId id="653" r:id="rId67"/>
    <p:sldId id="845" r:id="rId68"/>
    <p:sldId id="612" r:id="rId69"/>
    <p:sldId id="617" r:id="rId70"/>
    <p:sldId id="614" r:id="rId71"/>
    <p:sldId id="841" r:id="rId72"/>
    <p:sldId id="656" r:id="rId73"/>
    <p:sldId id="702" r:id="rId74"/>
    <p:sldId id="689" r:id="rId75"/>
    <p:sldId id="690" r:id="rId76"/>
    <p:sldId id="844" r:id="rId77"/>
    <p:sldId id="832" r:id="rId78"/>
    <p:sldId id="837" r:id="rId79"/>
    <p:sldId id="833" r:id="rId80"/>
    <p:sldId id="835" r:id="rId81"/>
    <p:sldId id="834" r:id="rId82"/>
    <p:sldId id="836" r:id="rId83"/>
    <p:sldId id="838" r:id="rId84"/>
    <p:sldId id="699" r:id="rId85"/>
    <p:sldId id="1003" r:id="rId86"/>
    <p:sldId id="700" r:id="rId87"/>
    <p:sldId id="1004" r:id="rId88"/>
    <p:sldId id="1008" r:id="rId89"/>
    <p:sldId id="843" r:id="rId90"/>
    <p:sldId id="817" r:id="rId91"/>
    <p:sldId id="822" r:id="rId92"/>
    <p:sldId id="820" r:id="rId93"/>
    <p:sldId id="818" r:id="rId94"/>
    <p:sldId id="821" r:id="rId95"/>
    <p:sldId id="735" r:id="rId96"/>
    <p:sldId id="830" r:id="rId97"/>
    <p:sldId id="1006" r:id="rId98"/>
    <p:sldId id="763" r:id="rId99"/>
    <p:sldId id="1007" r:id="rId100"/>
    <p:sldId id="959" r:id="rId101"/>
    <p:sldId id="738" r:id="rId102"/>
    <p:sldId id="739" r:id="rId103"/>
    <p:sldId id="740" r:id="rId104"/>
    <p:sldId id="741" r:id="rId105"/>
    <p:sldId id="842" r:id="rId106"/>
    <p:sldId id="685" r:id="rId107"/>
    <p:sldId id="823" r:id="rId108"/>
    <p:sldId id="824" r:id="rId109"/>
    <p:sldId id="667" r:id="rId110"/>
    <p:sldId id="664" r:id="rId111"/>
    <p:sldId id="665" r:id="rId112"/>
    <p:sldId id="668" r:id="rId113"/>
    <p:sldId id="825" r:id="rId114"/>
    <p:sldId id="826" r:id="rId115"/>
    <p:sldId id="827" r:id="rId116"/>
    <p:sldId id="619" r:id="rId117"/>
    <p:sldId id="929" r:id="rId118"/>
    <p:sldId id="867" r:id="rId119"/>
    <p:sldId id="868" r:id="rId120"/>
    <p:sldId id="869" r:id="rId121"/>
    <p:sldId id="870" r:id="rId122"/>
    <p:sldId id="876" r:id="rId123"/>
    <p:sldId id="877" r:id="rId124"/>
    <p:sldId id="878" r:id="rId125"/>
    <p:sldId id="879" r:id="rId126"/>
    <p:sldId id="880" r:id="rId127"/>
    <p:sldId id="886" r:id="rId128"/>
    <p:sldId id="891" r:id="rId129"/>
    <p:sldId id="892" r:id="rId130"/>
    <p:sldId id="896" r:id="rId131"/>
    <p:sldId id="898" r:id="rId132"/>
    <p:sldId id="901" r:id="rId133"/>
    <p:sldId id="928" r:id="rId134"/>
    <p:sldId id="905" r:id="rId135"/>
    <p:sldId id="906" r:id="rId136"/>
    <p:sldId id="907" r:id="rId137"/>
    <p:sldId id="909" r:id="rId138"/>
    <p:sldId id="910" r:id="rId139"/>
    <p:sldId id="911" r:id="rId140"/>
    <p:sldId id="912" r:id="rId141"/>
    <p:sldId id="913" r:id="rId142"/>
    <p:sldId id="914" r:id="rId143"/>
    <p:sldId id="915" r:id="rId144"/>
    <p:sldId id="916" r:id="rId145"/>
    <p:sldId id="917" r:id="rId146"/>
    <p:sldId id="918" r:id="rId147"/>
    <p:sldId id="919" r:id="rId148"/>
    <p:sldId id="920" r:id="rId149"/>
    <p:sldId id="921" r:id="rId150"/>
    <p:sldId id="922" r:id="rId151"/>
    <p:sldId id="923" r:id="rId152"/>
    <p:sldId id="924" r:id="rId153"/>
    <p:sldId id="925" r:id="rId154"/>
    <p:sldId id="926" r:id="rId155"/>
    <p:sldId id="927" r:id="rId156"/>
    <p:sldId id="931" r:id="rId157"/>
    <p:sldId id="936" r:id="rId158"/>
    <p:sldId id="937" r:id="rId159"/>
    <p:sldId id="938" r:id="rId160"/>
    <p:sldId id="939" r:id="rId161"/>
    <p:sldId id="940" r:id="rId162"/>
    <p:sldId id="941" r:id="rId163"/>
    <p:sldId id="942" r:id="rId164"/>
    <p:sldId id="947" r:id="rId165"/>
    <p:sldId id="952" r:id="rId166"/>
    <p:sldId id="953" r:id="rId167"/>
    <p:sldId id="954" r:id="rId168"/>
    <p:sldId id="955" r:id="rId169"/>
    <p:sldId id="956" r:id="rId170"/>
    <p:sldId id="957" r:id="rId171"/>
    <p:sldId id="958" r:id="rId172"/>
    <p:sldId id="961" r:id="rId173"/>
    <p:sldId id="965" r:id="rId174"/>
    <p:sldId id="969" r:id="rId175"/>
    <p:sldId id="970" r:id="rId176"/>
    <p:sldId id="971" r:id="rId177"/>
    <p:sldId id="972" r:id="rId178"/>
    <p:sldId id="973" r:id="rId179"/>
    <p:sldId id="974" r:id="rId180"/>
    <p:sldId id="976" r:id="rId181"/>
    <p:sldId id="980" r:id="rId182"/>
    <p:sldId id="981" r:id="rId183"/>
    <p:sldId id="988" r:id="rId184"/>
    <p:sldId id="989" r:id="rId185"/>
    <p:sldId id="990" r:id="rId186"/>
    <p:sldId id="991" r:id="rId187"/>
    <p:sldId id="992" r:id="rId188"/>
    <p:sldId id="993" r:id="rId189"/>
    <p:sldId id="994" r:id="rId190"/>
    <p:sldId id="995" r:id="rId191"/>
    <p:sldId id="996" r:id="rId192"/>
    <p:sldId id="997" r:id="rId193"/>
    <p:sldId id="998" r:id="rId194"/>
    <p:sldId id="999" r:id="rId195"/>
    <p:sldId id="1000" r:id="rId196"/>
    <p:sldId id="1001" r:id="rId197"/>
    <p:sldId id="337" r:id="rId198"/>
    <p:sldId id="496" r:id="rId199"/>
    <p:sldId id="492" r:id="rId200"/>
    <p:sldId id="495" r:id="rId201"/>
    <p:sldId id="573" r:id="rId202"/>
    <p:sldId id="574" r:id="rId20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814"/>
            <p14:sldId id="705"/>
            <p14:sldId id="813"/>
            <p14:sldId id="815"/>
          </p14:sldIdLst>
        </p14:section>
        <p14:section name="SQL Database" id="{6788CFD5-1B7A-4072-BEB9-1342AF89675A}">
          <p14:sldIdLst>
            <p14:sldId id="839"/>
            <p14:sldId id="576"/>
            <p14:sldId id="544"/>
            <p14:sldId id="546"/>
            <p14:sldId id="547"/>
            <p14:sldId id="632"/>
            <p14:sldId id="828"/>
            <p14:sldId id="548"/>
            <p14:sldId id="622"/>
            <p14:sldId id="624"/>
            <p14:sldId id="625"/>
            <p14:sldId id="623"/>
            <p14:sldId id="627"/>
            <p14:sldId id="628"/>
            <p14:sldId id="803"/>
            <p14:sldId id="629"/>
            <p14:sldId id="703"/>
            <p14:sldId id="704"/>
            <p14:sldId id="571"/>
            <p14:sldId id="553"/>
            <p14:sldId id="804"/>
            <p14:sldId id="805"/>
            <p14:sldId id="806"/>
            <p14:sldId id="807"/>
            <p14:sldId id="809"/>
            <p14:sldId id="633"/>
            <p14:sldId id="637"/>
            <p14:sldId id="556"/>
            <p14:sldId id="636"/>
            <p14:sldId id="635"/>
            <p14:sldId id="639"/>
            <p14:sldId id="557"/>
            <p14:sldId id="642"/>
            <p14:sldId id="641"/>
            <p14:sldId id="645"/>
            <p14:sldId id="561"/>
            <p14:sldId id="562"/>
            <p14:sldId id="647"/>
            <p14:sldId id="564"/>
            <p14:sldId id="650"/>
            <p14:sldId id="652"/>
            <p14:sldId id="649"/>
            <p14:sldId id="651"/>
          </p14:sldIdLst>
        </p14:section>
        <p14:section name="Elastic Scale" id="{F04E76DC-2F9D-4705-AF27-FBA89DC72635}">
          <p14:sldIdLst>
            <p14:sldId id="812"/>
            <p14:sldId id="709"/>
            <p14:sldId id="816"/>
            <p14:sldId id="712"/>
            <p14:sldId id="1002"/>
          </p14:sldIdLst>
        </p14:section>
        <p14:section name="SQL IaaS" id="{69C4A8B7-D4F9-4CE7-ABC0-F70D611517AA}">
          <p14:sldIdLst>
            <p14:sldId id="840"/>
            <p14:sldId id="684"/>
            <p14:sldId id="620"/>
            <p14:sldId id="653"/>
            <p14:sldId id="845"/>
          </p14:sldIdLst>
        </p14:section>
        <p14:section name="NoSql" id="{CC4E3CA9-DD32-4624-8B3E-2B5B346036C2}">
          <p14:sldIdLst>
            <p14:sldId id="612"/>
            <p14:sldId id="617"/>
            <p14:sldId id="614"/>
          </p14:sldIdLst>
        </p14:section>
        <p14:section name="DocumentDB" id="{E2EDBE7F-F696-443E-BA7B-1CB2F81AA309}">
          <p14:sldIdLst>
            <p14:sldId id="841"/>
            <p14:sldId id="656"/>
            <p14:sldId id="702"/>
            <p14:sldId id="689"/>
            <p14:sldId id="690"/>
            <p14:sldId id="844"/>
            <p14:sldId id="832"/>
            <p14:sldId id="837"/>
            <p14:sldId id="833"/>
            <p14:sldId id="835"/>
            <p14:sldId id="834"/>
            <p14:sldId id="836"/>
            <p14:sldId id="838"/>
            <p14:sldId id="699"/>
            <p14:sldId id="1003"/>
            <p14:sldId id="700"/>
            <p14:sldId id="1004"/>
            <p14:sldId id="1008"/>
          </p14:sldIdLst>
        </p14:section>
        <p14:section name="Azure Search" id="{1BC3875F-C84A-49C5-96C5-B5EA02BBD07F}">
          <p14:sldIdLst>
            <p14:sldId id="843"/>
            <p14:sldId id="817"/>
            <p14:sldId id="822"/>
            <p14:sldId id="820"/>
            <p14:sldId id="818"/>
            <p14:sldId id="821"/>
            <p14:sldId id="735"/>
            <p14:sldId id="830"/>
            <p14:sldId id="1006"/>
            <p14:sldId id="763"/>
            <p14:sldId id="1007"/>
            <p14:sldId id="959"/>
            <p14:sldId id="738"/>
            <p14:sldId id="739"/>
            <p14:sldId id="740"/>
            <p14:sldId id="741"/>
          </p14:sldIdLst>
        </p14:section>
        <p14:section name="HDInsight" id="{BFB47775-84A3-4327-B49C-6F02018DD6B6}">
          <p14:sldIdLst>
            <p14:sldId id="842"/>
            <p14:sldId id="685"/>
            <p14:sldId id="823"/>
            <p14:sldId id="824"/>
            <p14:sldId id="667"/>
            <p14:sldId id="664"/>
            <p14:sldId id="665"/>
            <p14:sldId id="668"/>
            <p14:sldId id="825"/>
            <p14:sldId id="826"/>
            <p14:sldId id="827"/>
          </p14:sldIdLst>
        </p14:section>
        <p14:section name="Outro" id="{00D3D8B1-E403-4E21-9A68-5DB578B087B8}">
          <p14:sldIdLst>
            <p14:sldId id="619"/>
          </p14:sldIdLst>
        </p14:section>
        <p14:section name="SQL Database extras" id="{4BA9330E-4217-4CEB-B344-3B2CA330B4F6}">
          <p14:sldIdLst>
            <p14:sldId id="929"/>
            <p14:sldId id="867"/>
            <p14:sldId id="868"/>
            <p14:sldId id="869"/>
            <p14:sldId id="870"/>
            <p14:sldId id="876"/>
            <p14:sldId id="877"/>
            <p14:sldId id="878"/>
            <p14:sldId id="879"/>
            <p14:sldId id="880"/>
            <p14:sldId id="886"/>
            <p14:sldId id="891"/>
            <p14:sldId id="892"/>
            <p14:sldId id="896"/>
            <p14:sldId id="898"/>
            <p14:sldId id="901"/>
          </p14:sldIdLst>
        </p14:section>
        <p14:section name="Elastic Scale Extras" id="{1F732CB2-69DF-47CC-B84C-0DF1F6F43030}">
          <p14:sldIdLst>
            <p14:sldId id="928"/>
            <p14:sldId id="905"/>
            <p14:sldId id="906"/>
            <p14:sldId id="907"/>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Lst>
        </p14:section>
        <p14:section name="Azure Search Extras" id="{38CCAB3A-EE09-4AE3-B4F2-5D4C9D3A734A}">
          <p14:sldIdLst>
            <p14:sldId id="931"/>
            <p14:sldId id="936"/>
            <p14:sldId id="937"/>
            <p14:sldId id="938"/>
            <p14:sldId id="939"/>
            <p14:sldId id="940"/>
            <p14:sldId id="941"/>
            <p14:sldId id="942"/>
            <p14:sldId id="947"/>
            <p14:sldId id="952"/>
            <p14:sldId id="953"/>
            <p14:sldId id="954"/>
            <p14:sldId id="955"/>
            <p14:sldId id="956"/>
            <p14:sldId id="957"/>
            <p14:sldId id="958"/>
          </p14:sldIdLst>
        </p14:section>
        <p14:section name="DocumentDB Extras" id="{BAD33171-6F00-4A67-8454-82963375ECB9}">
          <p14:sldIdLst>
            <p14:sldId id="961"/>
            <p14:sldId id="965"/>
            <p14:sldId id="969"/>
            <p14:sldId id="970"/>
            <p14:sldId id="971"/>
            <p14:sldId id="972"/>
            <p14:sldId id="973"/>
            <p14:sldId id="974"/>
          </p14:sldIdLst>
        </p14:section>
        <p14:section name="HDInsight" id="{588BA6F9-3537-4CD7-940F-0D33CC9B3EC5}">
          <p14:sldIdLst>
            <p14:sldId id="976"/>
            <p14:sldId id="980"/>
            <p14:sldId id="981"/>
            <p14:sldId id="988"/>
            <p14:sldId id="989"/>
            <p14:sldId id="990"/>
            <p14:sldId id="991"/>
            <p14:sldId id="992"/>
            <p14:sldId id="993"/>
            <p14:sldId id="994"/>
            <p14:sldId id="995"/>
            <p14:sldId id="996"/>
            <p14:sldId id="997"/>
            <p14:sldId id="998"/>
            <p14:sldId id="999"/>
            <p14:sldId id="1000"/>
            <p14:sldId id="1001"/>
          </p14:sldIdLst>
        </p14:section>
        <p14:section name="Extras"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8E00"/>
    <a:srgbClr val="1D4380"/>
    <a:srgbClr val="00000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9" autoAdjust="0"/>
    <p:restoredTop sz="71821" autoAdjust="0"/>
  </p:normalViewPr>
  <p:slideViewPr>
    <p:cSldViewPr snapToGrid="0">
      <p:cViewPr varScale="1">
        <p:scale>
          <a:sx n="56" d="100"/>
          <a:sy n="56" d="100"/>
        </p:scale>
        <p:origin x="876" y="56"/>
      </p:cViewPr>
      <p:guideLst/>
    </p:cSldViewPr>
  </p:slideViewPr>
  <p:outlineViewPr>
    <p:cViewPr>
      <p:scale>
        <a:sx n="33" d="100"/>
        <a:sy n="33" d="100"/>
      </p:scale>
      <p:origin x="0" y="-62568"/>
    </p:cViewPr>
  </p:outlineViewPr>
  <p:notesTextViewPr>
    <p:cViewPr>
      <p:scale>
        <a:sx n="100" d="100"/>
        <a:sy n="100" d="100"/>
      </p:scale>
      <p:origin x="0" y="-364"/>
    </p:cViewPr>
  </p:notesTextViewPr>
  <p:sorterViewPr>
    <p:cViewPr>
      <p:scale>
        <a:sx n="50" d="100"/>
        <a:sy n="50" d="100"/>
      </p:scale>
      <p:origin x="0" y="-7328"/>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slide" Target="slides/slide181.xml"/><Relationship Id="rId205" Type="http://schemas.openxmlformats.org/officeDocument/2006/relationships/commentAuthors" Target="commentAuthors.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slide" Target="slides/slide17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slide" Target="slides/slide182.xml"/><Relationship Id="rId206" Type="http://schemas.openxmlformats.org/officeDocument/2006/relationships/presProps" Target="presProps.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slide" Target="slides/slide172.xml"/><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93" Type="http://schemas.openxmlformats.org/officeDocument/2006/relationships/slide" Target="slides/slide183.xml"/><Relationship Id="rId207" Type="http://schemas.openxmlformats.org/officeDocument/2006/relationships/viewProps" Target="viewProps.xml"/><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slide" Target="slides/slide173.xml"/><Relationship Id="rId24" Type="http://schemas.openxmlformats.org/officeDocument/2006/relationships/slide" Target="slides/slide14.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31" Type="http://schemas.openxmlformats.org/officeDocument/2006/relationships/slide" Target="slides/slide121.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slide" Target="slides/slide184.xml"/><Relationship Id="rId199" Type="http://schemas.openxmlformats.org/officeDocument/2006/relationships/slide" Target="slides/slide189.xml"/><Relationship Id="rId203" Type="http://schemas.openxmlformats.org/officeDocument/2006/relationships/slide" Target="slides/slide193.xml"/><Relationship Id="rId208" Type="http://schemas.openxmlformats.org/officeDocument/2006/relationships/theme" Target="theme/theme1.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slide" Target="slides/slide174.xml"/><Relationship Id="rId189" Type="http://schemas.openxmlformats.org/officeDocument/2006/relationships/slide" Target="slides/slide179.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5" Type="http://schemas.openxmlformats.org/officeDocument/2006/relationships/slide" Target="slides/slide185.xml"/><Relationship Id="rId209" Type="http://schemas.openxmlformats.org/officeDocument/2006/relationships/tableStyles" Target="tableStyles.xml"/><Relationship Id="rId190" Type="http://schemas.openxmlformats.org/officeDocument/2006/relationships/slide" Target="slides/slide180.xml"/><Relationship Id="rId204" Type="http://schemas.openxmlformats.org/officeDocument/2006/relationships/notesMaster" Target="notesMasters/notesMaster1.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slide" Target="slides/slide1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0.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96" Type="http://schemas.openxmlformats.org/officeDocument/2006/relationships/slide" Target="slides/slide186.xml"/><Relationship Id="rId200" Type="http://schemas.openxmlformats.org/officeDocument/2006/relationships/slide" Target="slides/slide190.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slide" Target="slides/slide176.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slide" Target="slides/slide187.xml"/><Relationship Id="rId201" Type="http://schemas.openxmlformats.org/officeDocument/2006/relationships/slide" Target="slides/slide191.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slide" Target="slides/slide177.xml"/><Relationship Id="rId1" Type="http://schemas.openxmlformats.org/officeDocument/2006/relationships/customXml" Target="../customXml/item1.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slide" Target="slides/slide188.xml"/><Relationship Id="rId202" Type="http://schemas.openxmlformats.org/officeDocument/2006/relationships/slide" Target="slides/slide192.xml"/><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slide" Target="slides/slide178.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AB337DC8-6C9E-472E-8E93-3B8D44D29852}" type="presOf" srcId="{D5AC4FD8-070C-4865-A66C-53A32AC68386}" destId="{B3F4A5DC-ADFF-4B68-A0FA-B92D72BCD3F7}" srcOrd="1" destOrd="0" presId="urn:microsoft.com/office/officeart/2008/layout/HorizontalMultiLevelHierarchy"/>
    <dgm:cxn modelId="{9E6AEE0E-0DA1-4815-8BA5-9F95829263C0}" type="presOf" srcId="{104E2955-533F-4F65-A6EC-A5C09F9FECB9}" destId="{119C7C9D-0B32-4D07-81AE-0A70467D3A15}" srcOrd="0" destOrd="0" presId="urn:microsoft.com/office/officeart/2008/layout/HorizontalMultiLevelHierarchy"/>
    <dgm:cxn modelId="{0D5E4F6E-0145-49F2-8A88-857954F38938}" type="presOf" srcId="{E7AD2F4D-4852-48A4-8B11-0C8B5AD0ECEE}" destId="{8D7E4202-D349-4069-AC74-24D0B316914D}"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BF8B83AD-8E7B-4079-98E2-CCE0365A4C2B}" type="presOf" srcId="{E9949CA8-B64A-4E20-91C8-3ADD0DC2A1C9}" destId="{FD6F4480-1781-4FB3-9921-7A1B32EE8859}" srcOrd="0" destOrd="0" presId="urn:microsoft.com/office/officeart/2008/layout/HorizontalMultiLevelHierarchy"/>
    <dgm:cxn modelId="{1C4D26F5-4272-465F-ABE3-0C68299E8B0E}" type="presOf" srcId="{877D85AB-B47C-4A8A-B958-9DED8F5C01E0}" destId="{EF09A5F9-019B-498E-ABA4-57BBCA557142}" srcOrd="0" destOrd="0" presId="urn:microsoft.com/office/officeart/2008/layout/HorizontalMultiLevelHierarchy"/>
    <dgm:cxn modelId="{8F5D71C3-D669-44F7-BDE7-6F1BBE9BA5D5}" type="presOf" srcId="{F6878C26-483E-4417-B45A-15EFF078DAD2}" destId="{5F2A867F-B0DB-464C-87B2-D5E93EA25A37}" srcOrd="0" destOrd="0" presId="urn:microsoft.com/office/officeart/2008/layout/HorizontalMultiLevelHierarchy"/>
    <dgm:cxn modelId="{DB73A961-E223-4A4D-B5D3-03543845027A}" srcId="{ABA94078-415A-4746-B338-0DE50D167765}" destId="{E7AD2F4D-4852-48A4-8B11-0C8B5AD0ECEE}" srcOrd="3" destOrd="0" parTransId="{E9949CA8-B64A-4E20-91C8-3ADD0DC2A1C9}" sibTransId="{32A18F40-8783-43D7-B4C1-00590BB46F41}"/>
    <dgm:cxn modelId="{6B5928EF-413F-4E8A-A1A8-E86518542005}" type="presOf" srcId="{9F85CA3C-8B1E-44B8-A59E-2A9682806853}" destId="{FA5112F6-95E1-494E-9A70-A146BE44220F}" srcOrd="0" destOrd="0" presId="urn:microsoft.com/office/officeart/2008/layout/HorizontalMultiLevelHierarchy"/>
    <dgm:cxn modelId="{3DFE370E-8A03-4ABB-8EB4-94067ADCF260}" srcId="{ABA94078-415A-4746-B338-0DE50D167765}" destId="{649004AF-F642-4F9D-A200-1DE599467DDF}" srcOrd="5" destOrd="0" parTransId="{54805C72-8F7F-4CAA-AA58-C4033CBD9118}" sibTransId="{A0925064-1AB6-404A-BECA-3829C879881E}"/>
    <dgm:cxn modelId="{F26DB6FA-908B-42DB-8F2E-BA11E6D1EBC9}" type="presOf" srcId="{09F386EB-C454-4E92-A7A4-FF95775C2FC7}" destId="{400DDB8E-F8A6-4E8A-97E8-357DD86F9704}"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F4E5B0A8-0CAD-47F8-B3DF-EF868DCE9637}" type="presOf" srcId="{54805C72-8F7F-4CAA-AA58-C4033CBD9118}" destId="{146E5FD6-2806-43BF-97EC-19A86064E839}" srcOrd="1" destOrd="0" presId="urn:microsoft.com/office/officeart/2008/layout/HorizontalMultiLevelHierarchy"/>
    <dgm:cxn modelId="{EA37B94C-4964-452D-A11A-034334B669D2}" type="presOf" srcId="{649004AF-F642-4F9D-A200-1DE599467DDF}" destId="{A71E8D9C-16D9-464B-8B80-E78BF279874E}"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0F16074B-B366-4029-934B-31B3D4ECFA31}" srcId="{ABA94078-415A-4746-B338-0DE50D167765}" destId="{9F85CA3C-8B1E-44B8-A59E-2A9682806853}" srcOrd="6" destOrd="0" parTransId="{877D85AB-B47C-4A8A-B958-9DED8F5C01E0}" sibTransId="{43D891D0-250C-4205-BB6A-2CBB566F7719}"/>
    <dgm:cxn modelId="{E44BED7D-6740-4745-89CC-22974B712FB9}" srcId="{ABA94078-415A-4746-B338-0DE50D167765}" destId="{723FA9A8-0259-439B-B329-BE5B3B896F73}" srcOrd="2" destOrd="0" parTransId="{104E2955-533F-4F65-A6EC-A5C09F9FECB9}" sibTransId="{5D65ED31-CF69-48F3-9A8D-61ABFC6CDA4E}"/>
    <dgm:cxn modelId="{338FE06E-006A-4908-9E3B-4D3367BE48C2}" type="presOf" srcId="{D5AC4FD8-070C-4865-A66C-53A32AC68386}" destId="{0C220F30-9CF8-4DB8-86E7-CDF471D20870}" srcOrd="0" destOrd="0" presId="urn:microsoft.com/office/officeart/2008/layout/HorizontalMultiLevelHierarchy"/>
    <dgm:cxn modelId="{DDFBE838-53B1-4CB8-9DC0-654359C05CF1}" type="presOf" srcId="{9DA6BCFE-D6F4-42F1-86B5-9DF688E59482}" destId="{35B34161-EB22-4BEF-8383-D468395B700D}" srcOrd="0" destOrd="0" presId="urn:microsoft.com/office/officeart/2008/layout/HorizontalMultiLevelHierarchy"/>
    <dgm:cxn modelId="{BCBFA7C1-DE56-427E-BAAA-ED4E4A24DEF9}" type="presOf" srcId="{4777E599-580D-4111-9967-E9007FBD732E}" destId="{91AC151A-A48B-4C49-B50D-6CDF08005D53}" srcOrd="0" destOrd="0" presId="urn:microsoft.com/office/officeart/2008/layout/HorizontalMultiLevelHierarchy"/>
    <dgm:cxn modelId="{1896F3FC-3DCB-4758-8FFC-C29E6D7B0970}" type="presOf" srcId="{723FA9A8-0259-439B-B329-BE5B3B896F73}" destId="{4481D148-58D8-467C-95FE-CFF1AE469194}" srcOrd="0" destOrd="0" presId="urn:microsoft.com/office/officeart/2008/layout/HorizontalMultiLevelHierarchy"/>
    <dgm:cxn modelId="{CCEF1731-7DFF-406C-AAFB-A0B5A5F40064}" type="presOf" srcId="{1C03D53B-46C2-4CF7-B8A5-EABB5CAC4C9F}" destId="{CA0B9DAC-80DB-439C-9BF0-7A74490B860A}" srcOrd="0" destOrd="0" presId="urn:microsoft.com/office/officeart/2008/layout/HorizontalMultiLevelHierarchy"/>
    <dgm:cxn modelId="{CCFAB8D1-1631-4416-8499-538505C2D9CA}" type="presOf" srcId="{F6878C26-483E-4417-B45A-15EFF078DAD2}" destId="{05008295-58D9-4D68-8F60-F61B6F74F8C7}" srcOrd="1"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A9034043-CDBD-42C0-9DEB-AD4DA3BF5E0E}" type="presOf" srcId="{E9949CA8-B64A-4E20-91C8-3ADD0DC2A1C9}" destId="{EA4F0542-8D93-43C3-B2C2-ADBD39BCB003}" srcOrd="1" destOrd="0" presId="urn:microsoft.com/office/officeart/2008/layout/HorizontalMultiLevelHierarchy"/>
    <dgm:cxn modelId="{51653825-3090-4831-8ED2-D08031660676}" type="presOf" srcId="{EDBCEC8A-07C4-4A69-9C95-ACF10DED2E8E}" destId="{63C62DD7-9330-4621-8BB0-F09194295312}" srcOrd="0" destOrd="0" presId="urn:microsoft.com/office/officeart/2008/layout/HorizontalMultiLevelHierarchy"/>
    <dgm:cxn modelId="{0D386679-7A59-4BAB-AD7E-BA0D38A583F2}" type="presOf" srcId="{877D85AB-B47C-4A8A-B958-9DED8F5C01E0}" destId="{FF80FA9C-5B77-4DDF-942B-A9609610F6EF}" srcOrd="1" destOrd="0" presId="urn:microsoft.com/office/officeart/2008/layout/HorizontalMultiLevelHierarchy"/>
    <dgm:cxn modelId="{1B1CD38D-C8CE-4C68-AC66-068DF4A30748}" type="presOf" srcId="{ABA94078-415A-4746-B338-0DE50D167765}" destId="{58CCF708-F1AC-4488-8F63-38C6CF29B93E}" srcOrd="0" destOrd="0" presId="urn:microsoft.com/office/officeart/2008/layout/HorizontalMultiLevelHierarchy"/>
    <dgm:cxn modelId="{D8F19D8E-F691-4228-84C7-71792248F3DE}" type="presOf" srcId="{104E2955-533F-4F65-A6EC-A5C09F9FECB9}" destId="{1B790049-F385-40D2-A29C-E98F2FBC1B92}" srcOrd="1" destOrd="0" presId="urn:microsoft.com/office/officeart/2008/layout/HorizontalMultiLevelHierarchy"/>
    <dgm:cxn modelId="{13E2D89E-9B1B-49F7-B318-DC36A90B3EFC}" type="presOf" srcId="{54805C72-8F7F-4CAA-AA58-C4033CBD9118}" destId="{F5898C31-D1A2-45B4-AD71-C22501D5F96A}" srcOrd="0" destOrd="0" presId="urn:microsoft.com/office/officeart/2008/layout/HorizontalMultiLevelHierarchy"/>
    <dgm:cxn modelId="{15FE27A4-33B0-46F9-87E0-F9DC7DBF3D93}" type="presOf" srcId="{09F386EB-C454-4E92-A7A4-FF95775C2FC7}" destId="{E3362AAA-498A-42FA-82A7-757DB84748E3}" srcOrd="0" destOrd="0" presId="urn:microsoft.com/office/officeart/2008/layout/HorizontalMultiLevelHierarchy"/>
    <dgm:cxn modelId="{B9C5B455-23C1-470C-94E9-196E423F311D}" type="presParOf" srcId="{63C62DD7-9330-4621-8BB0-F09194295312}" destId="{D283DCFB-8010-47B3-A09B-8CFCF3F60C79}" srcOrd="0" destOrd="0" presId="urn:microsoft.com/office/officeart/2008/layout/HorizontalMultiLevelHierarchy"/>
    <dgm:cxn modelId="{382C249C-E967-400C-9DB1-AEC4D2E3E0FE}" type="presParOf" srcId="{D283DCFB-8010-47B3-A09B-8CFCF3F60C79}" destId="{58CCF708-F1AC-4488-8F63-38C6CF29B93E}" srcOrd="0" destOrd="0" presId="urn:microsoft.com/office/officeart/2008/layout/HorizontalMultiLevelHierarchy"/>
    <dgm:cxn modelId="{98567219-B412-40D0-BA71-AD87C4198C69}" type="presParOf" srcId="{D283DCFB-8010-47B3-A09B-8CFCF3F60C79}" destId="{B2FE81D5-E6DA-419B-9147-3A4D44EE742E}" srcOrd="1" destOrd="0" presId="urn:microsoft.com/office/officeart/2008/layout/HorizontalMultiLevelHierarchy"/>
    <dgm:cxn modelId="{8597029B-2B83-47F8-B42A-F0639C3D5512}" type="presParOf" srcId="{B2FE81D5-E6DA-419B-9147-3A4D44EE742E}" destId="{E3362AAA-498A-42FA-82A7-757DB84748E3}" srcOrd="0" destOrd="0" presId="urn:microsoft.com/office/officeart/2008/layout/HorizontalMultiLevelHierarchy"/>
    <dgm:cxn modelId="{474D27D4-4285-4E98-B079-A8597BF2ACC9}" type="presParOf" srcId="{E3362AAA-498A-42FA-82A7-757DB84748E3}" destId="{400DDB8E-F8A6-4E8A-97E8-357DD86F9704}" srcOrd="0" destOrd="0" presId="urn:microsoft.com/office/officeart/2008/layout/HorizontalMultiLevelHierarchy"/>
    <dgm:cxn modelId="{828BCBC5-C939-4298-8369-3B1AFCBDAAA7}" type="presParOf" srcId="{B2FE81D5-E6DA-419B-9147-3A4D44EE742E}" destId="{DC6E1297-9055-401C-8635-694E35BBF3F7}" srcOrd="1" destOrd="0" presId="urn:microsoft.com/office/officeart/2008/layout/HorizontalMultiLevelHierarchy"/>
    <dgm:cxn modelId="{A7711B66-216E-4466-A47D-5B73A0A147DF}" type="presParOf" srcId="{DC6E1297-9055-401C-8635-694E35BBF3F7}" destId="{35B34161-EB22-4BEF-8383-D468395B700D}" srcOrd="0" destOrd="0" presId="urn:microsoft.com/office/officeart/2008/layout/HorizontalMultiLevelHierarchy"/>
    <dgm:cxn modelId="{05E6C7A4-85F7-4EC1-B658-3D449798C53B}" type="presParOf" srcId="{DC6E1297-9055-401C-8635-694E35BBF3F7}" destId="{156155A1-1FE7-4B4A-83B6-3E386EDCB2E7}" srcOrd="1" destOrd="0" presId="urn:microsoft.com/office/officeart/2008/layout/HorizontalMultiLevelHierarchy"/>
    <dgm:cxn modelId="{630E0D4D-E4EA-4225-B72A-0B0F2F917D2B}" type="presParOf" srcId="{B2FE81D5-E6DA-419B-9147-3A4D44EE742E}" destId="{0C220F30-9CF8-4DB8-86E7-CDF471D20870}" srcOrd="2" destOrd="0" presId="urn:microsoft.com/office/officeart/2008/layout/HorizontalMultiLevelHierarchy"/>
    <dgm:cxn modelId="{0A3020C8-34E4-41EF-BEB3-476CB2A1A5D7}" type="presParOf" srcId="{0C220F30-9CF8-4DB8-86E7-CDF471D20870}" destId="{B3F4A5DC-ADFF-4B68-A0FA-B92D72BCD3F7}" srcOrd="0" destOrd="0" presId="urn:microsoft.com/office/officeart/2008/layout/HorizontalMultiLevelHierarchy"/>
    <dgm:cxn modelId="{C13CD4CD-1678-414B-B7F9-D47667967CC1}" type="presParOf" srcId="{B2FE81D5-E6DA-419B-9147-3A4D44EE742E}" destId="{CDB19A18-4A52-439F-80D8-7B0E006C1B26}" srcOrd="3" destOrd="0" presId="urn:microsoft.com/office/officeart/2008/layout/HorizontalMultiLevelHierarchy"/>
    <dgm:cxn modelId="{824C091A-C06B-4B19-A101-99866B5DB4D9}" type="presParOf" srcId="{CDB19A18-4A52-439F-80D8-7B0E006C1B26}" destId="{91AC151A-A48B-4C49-B50D-6CDF08005D53}" srcOrd="0" destOrd="0" presId="urn:microsoft.com/office/officeart/2008/layout/HorizontalMultiLevelHierarchy"/>
    <dgm:cxn modelId="{EB1146A3-C924-4FE9-80CD-D35CC33D88BB}" type="presParOf" srcId="{CDB19A18-4A52-439F-80D8-7B0E006C1B26}" destId="{2BDA39B9-AA6E-4BF0-A1B3-65A80998F018}" srcOrd="1" destOrd="0" presId="urn:microsoft.com/office/officeart/2008/layout/HorizontalMultiLevelHierarchy"/>
    <dgm:cxn modelId="{070FC1BC-CFC6-46C3-8A37-0FA6B93AEB30}" type="presParOf" srcId="{B2FE81D5-E6DA-419B-9147-3A4D44EE742E}" destId="{119C7C9D-0B32-4D07-81AE-0A70467D3A15}" srcOrd="4" destOrd="0" presId="urn:microsoft.com/office/officeart/2008/layout/HorizontalMultiLevelHierarchy"/>
    <dgm:cxn modelId="{D36277AB-2495-46E4-8028-B1B056F04D91}" type="presParOf" srcId="{119C7C9D-0B32-4D07-81AE-0A70467D3A15}" destId="{1B790049-F385-40D2-A29C-E98F2FBC1B92}" srcOrd="0" destOrd="0" presId="urn:microsoft.com/office/officeart/2008/layout/HorizontalMultiLevelHierarchy"/>
    <dgm:cxn modelId="{10BFC606-5D60-4FCF-8AB6-C6EE147D1163}" type="presParOf" srcId="{B2FE81D5-E6DA-419B-9147-3A4D44EE742E}" destId="{7ED61A00-03B4-49A5-8916-E0054A7D0837}" srcOrd="5" destOrd="0" presId="urn:microsoft.com/office/officeart/2008/layout/HorizontalMultiLevelHierarchy"/>
    <dgm:cxn modelId="{BAC8D0D6-38AE-4EC8-86A9-82E11C9134E8}" type="presParOf" srcId="{7ED61A00-03B4-49A5-8916-E0054A7D0837}" destId="{4481D148-58D8-467C-95FE-CFF1AE469194}" srcOrd="0" destOrd="0" presId="urn:microsoft.com/office/officeart/2008/layout/HorizontalMultiLevelHierarchy"/>
    <dgm:cxn modelId="{9920A28A-A93E-49F3-B6CB-972C813FCD7B}" type="presParOf" srcId="{7ED61A00-03B4-49A5-8916-E0054A7D0837}" destId="{80AB8F0A-A94B-4E9E-BA62-64ADDD636A8C}" srcOrd="1" destOrd="0" presId="urn:microsoft.com/office/officeart/2008/layout/HorizontalMultiLevelHierarchy"/>
    <dgm:cxn modelId="{EB305966-490E-488B-AC8A-3A02937072C5}" type="presParOf" srcId="{B2FE81D5-E6DA-419B-9147-3A4D44EE742E}" destId="{FD6F4480-1781-4FB3-9921-7A1B32EE8859}" srcOrd="6" destOrd="0" presId="urn:microsoft.com/office/officeart/2008/layout/HorizontalMultiLevelHierarchy"/>
    <dgm:cxn modelId="{93A3076F-EB4A-48CC-A2C3-C946C8A73683}" type="presParOf" srcId="{FD6F4480-1781-4FB3-9921-7A1B32EE8859}" destId="{EA4F0542-8D93-43C3-B2C2-ADBD39BCB003}" srcOrd="0" destOrd="0" presId="urn:microsoft.com/office/officeart/2008/layout/HorizontalMultiLevelHierarchy"/>
    <dgm:cxn modelId="{44F76D3E-BF52-4D3E-9ECF-EB008CAE0E2C}" type="presParOf" srcId="{B2FE81D5-E6DA-419B-9147-3A4D44EE742E}" destId="{3AA7218F-0568-48C1-B3FE-70D813F513BE}" srcOrd="7" destOrd="0" presId="urn:microsoft.com/office/officeart/2008/layout/HorizontalMultiLevelHierarchy"/>
    <dgm:cxn modelId="{FAE3BEC8-4272-4869-9E1A-B52FD6B7294D}" type="presParOf" srcId="{3AA7218F-0568-48C1-B3FE-70D813F513BE}" destId="{8D7E4202-D349-4069-AC74-24D0B316914D}" srcOrd="0" destOrd="0" presId="urn:microsoft.com/office/officeart/2008/layout/HorizontalMultiLevelHierarchy"/>
    <dgm:cxn modelId="{C8770587-4343-44E4-8BC7-998737B2441D}" type="presParOf" srcId="{3AA7218F-0568-48C1-B3FE-70D813F513BE}" destId="{84A1B637-4B94-465C-A66B-1604053F7C66}" srcOrd="1" destOrd="0" presId="urn:microsoft.com/office/officeart/2008/layout/HorizontalMultiLevelHierarchy"/>
    <dgm:cxn modelId="{62762B12-0731-4C31-A15C-AD9160542304}" type="presParOf" srcId="{B2FE81D5-E6DA-419B-9147-3A4D44EE742E}" destId="{5F2A867F-B0DB-464C-87B2-D5E93EA25A37}" srcOrd="8" destOrd="0" presId="urn:microsoft.com/office/officeart/2008/layout/HorizontalMultiLevelHierarchy"/>
    <dgm:cxn modelId="{78D5C13E-73B7-48F0-A480-3D85C7D516B7}" type="presParOf" srcId="{5F2A867F-B0DB-464C-87B2-D5E93EA25A37}" destId="{05008295-58D9-4D68-8F60-F61B6F74F8C7}" srcOrd="0" destOrd="0" presId="urn:microsoft.com/office/officeart/2008/layout/HorizontalMultiLevelHierarchy"/>
    <dgm:cxn modelId="{08AC1922-0B9B-4268-B746-1B7029E130E8}" type="presParOf" srcId="{B2FE81D5-E6DA-419B-9147-3A4D44EE742E}" destId="{9347CDFB-9972-4A3E-BAC8-EFD1E5CE9F20}" srcOrd="9" destOrd="0" presId="urn:microsoft.com/office/officeart/2008/layout/HorizontalMultiLevelHierarchy"/>
    <dgm:cxn modelId="{7FC9F3EB-6269-4CD6-ABE0-6D962DA10E22}" type="presParOf" srcId="{9347CDFB-9972-4A3E-BAC8-EFD1E5CE9F20}" destId="{CA0B9DAC-80DB-439C-9BF0-7A74490B860A}" srcOrd="0" destOrd="0" presId="urn:microsoft.com/office/officeart/2008/layout/HorizontalMultiLevelHierarchy"/>
    <dgm:cxn modelId="{B8E55831-6E17-4041-89DF-B81EB8DF5401}" type="presParOf" srcId="{9347CDFB-9972-4A3E-BAC8-EFD1E5CE9F20}" destId="{A11D6639-8F9A-4CD2-89ED-7A8B13B68535}" srcOrd="1" destOrd="0" presId="urn:microsoft.com/office/officeart/2008/layout/HorizontalMultiLevelHierarchy"/>
    <dgm:cxn modelId="{7869D707-9420-43E7-8570-88AB4A890BF4}" type="presParOf" srcId="{B2FE81D5-E6DA-419B-9147-3A4D44EE742E}" destId="{F5898C31-D1A2-45B4-AD71-C22501D5F96A}" srcOrd="10" destOrd="0" presId="urn:microsoft.com/office/officeart/2008/layout/HorizontalMultiLevelHierarchy"/>
    <dgm:cxn modelId="{F4BE7AF0-60CC-4148-A9D8-EA7D0976F5C1}" type="presParOf" srcId="{F5898C31-D1A2-45B4-AD71-C22501D5F96A}" destId="{146E5FD6-2806-43BF-97EC-19A86064E839}" srcOrd="0" destOrd="0" presId="urn:microsoft.com/office/officeart/2008/layout/HorizontalMultiLevelHierarchy"/>
    <dgm:cxn modelId="{6F74A66D-B846-4269-9145-07F2F3C235D3}" type="presParOf" srcId="{B2FE81D5-E6DA-419B-9147-3A4D44EE742E}" destId="{0C8C94D8-D330-47CA-A24C-C4F8C6B84302}" srcOrd="11" destOrd="0" presId="urn:microsoft.com/office/officeart/2008/layout/HorizontalMultiLevelHierarchy"/>
    <dgm:cxn modelId="{B7693562-B93F-4CA6-88D6-F2882CE3DE02}" type="presParOf" srcId="{0C8C94D8-D330-47CA-A24C-C4F8C6B84302}" destId="{A71E8D9C-16D9-464B-8B80-E78BF279874E}" srcOrd="0" destOrd="0" presId="urn:microsoft.com/office/officeart/2008/layout/HorizontalMultiLevelHierarchy"/>
    <dgm:cxn modelId="{792EC041-93B6-45A4-9980-3A6EF0EF289F}" type="presParOf" srcId="{0C8C94D8-D330-47CA-A24C-C4F8C6B84302}" destId="{42387D1D-0967-4B57-B6EB-47082B05DBCC}" srcOrd="1" destOrd="0" presId="urn:microsoft.com/office/officeart/2008/layout/HorizontalMultiLevelHierarchy"/>
    <dgm:cxn modelId="{B24E9A58-DB36-4AAC-86AC-36E0C10A9A4F}" type="presParOf" srcId="{B2FE81D5-E6DA-419B-9147-3A4D44EE742E}" destId="{EF09A5F9-019B-498E-ABA4-57BBCA557142}" srcOrd="12" destOrd="0" presId="urn:microsoft.com/office/officeart/2008/layout/HorizontalMultiLevelHierarchy"/>
    <dgm:cxn modelId="{EDB91B26-7B89-4BDE-90AD-F861C48217CD}" type="presParOf" srcId="{EF09A5F9-019B-498E-ABA4-57BBCA557142}" destId="{FF80FA9C-5B77-4DDF-942B-A9609610F6EF}" srcOrd="0" destOrd="0" presId="urn:microsoft.com/office/officeart/2008/layout/HorizontalMultiLevelHierarchy"/>
    <dgm:cxn modelId="{4C6CD75C-0C45-4759-B115-416C56A5A06A}" type="presParOf" srcId="{B2FE81D5-E6DA-419B-9147-3A4D44EE742E}" destId="{39BA01C5-60C8-4F1E-814C-E0A8F8CEE161}" srcOrd="13" destOrd="0" presId="urn:microsoft.com/office/officeart/2008/layout/HorizontalMultiLevelHierarchy"/>
    <dgm:cxn modelId="{11D02A2F-C87B-4184-8EF6-A6EB371002EC}" type="presParOf" srcId="{39BA01C5-60C8-4F1E-814C-E0A8F8CEE161}" destId="{FA5112F6-95E1-494E-9A70-A146BE44220F}" srcOrd="0" destOrd="0" presId="urn:microsoft.com/office/officeart/2008/layout/HorizontalMultiLevelHierarchy"/>
    <dgm:cxn modelId="{6AA5F589-1001-4E6F-AFA3-E1F6354446D8}"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35C8BEE6-EA01-4105-9699-997A8442BBA5}" type="presOf" srcId="{AD5E754F-55AD-4C03-869C-EA85A8C15E69}" destId="{9EEE2724-A596-47BD-AE2D-77A1BF2174A2}" srcOrd="1" destOrd="0" presId="urn:microsoft.com/office/officeart/2005/8/layout/hierarchy2"/>
    <dgm:cxn modelId="{9CE9DE64-D591-4430-8857-288291814D8A}" type="presOf" srcId="{BB86DFC3-323C-42C4-8B60-9EED4A4CB6D0}" destId="{E410C2DD-2B95-42B2-86D4-32F15B352216}" srcOrd="0" destOrd="0" presId="urn:microsoft.com/office/officeart/2005/8/layout/hierarchy2"/>
    <dgm:cxn modelId="{E5237C8B-50D1-42CF-8838-276FD7DFDF00}" type="presOf" srcId="{39889D0E-2CB0-4366-8B1A-C78799290D75}" destId="{5ECFEAD0-40A9-4A3A-8058-5085F095EF10}" srcOrd="1" destOrd="0" presId="urn:microsoft.com/office/officeart/2005/8/layout/hierarchy2"/>
    <dgm:cxn modelId="{91DF174A-4416-45EB-B7D3-13049142B500}" type="presOf" srcId="{9202DE73-FF0D-4306-A291-92583E40F1AD}" destId="{58F8907F-179B-4183-BCFF-E9BED704BD3D}" srcOrd="0" destOrd="0" presId="urn:microsoft.com/office/officeart/2005/8/layout/hierarchy2"/>
    <dgm:cxn modelId="{313C4103-B5A3-4DCF-B09F-1EF886B720B8}" type="presOf" srcId="{617A308B-6139-4337-B915-AFB7BB78EA23}" destId="{F581B964-879D-4887-8B8C-E9F043E1ACEF}" srcOrd="0" destOrd="0" presId="urn:microsoft.com/office/officeart/2005/8/layout/hierarchy2"/>
    <dgm:cxn modelId="{B4AD9624-BD48-4A54-92BD-25FCC1D446B9}" type="presOf" srcId="{9202DE73-FF0D-4306-A291-92583E40F1AD}" destId="{1F8BF095-AB30-4698-B19B-035BBD5F2472}" srcOrd="1" destOrd="0" presId="urn:microsoft.com/office/officeart/2005/8/layout/hierarchy2"/>
    <dgm:cxn modelId="{D7DF0F77-61E8-4B23-9DCA-A331B8750985}" srcId="{91946B35-FB61-4435-B472-27D53F507FC8}" destId="{D71E69B1-1192-4739-8BF3-8DFDD02D960E}" srcOrd="0" destOrd="0" parTransId="{EACEF602-7402-4D3D-A67D-4151F913BC46}" sibTransId="{39EACB32-E36A-492A-A967-A67E55BF91C0}"/>
    <dgm:cxn modelId="{8D583E7D-9B8A-40C4-A7D9-998AD9B13935}" srcId="{B9182AF4-D7C8-41DA-814C-A98616906292}" destId="{F5E48451-1291-439A-AACE-51B417FC0454}" srcOrd="0" destOrd="0" parTransId="{39889D0E-2CB0-4366-8B1A-C78799290D75}" sibTransId="{2C883A82-9773-4684-8282-C174419F800F}"/>
    <dgm:cxn modelId="{A4AE58F6-E8A4-4898-95F3-150F17BA44B5}" type="presOf" srcId="{AD5E754F-55AD-4C03-869C-EA85A8C15E69}" destId="{F80676AA-DE2E-4AFD-93C1-7DACCBB903AA}" srcOrd="0" destOrd="0" presId="urn:microsoft.com/office/officeart/2005/8/layout/hierarchy2"/>
    <dgm:cxn modelId="{7B0D9CE3-7D6B-4CE3-8DA7-4A868360C7EC}" type="presOf" srcId="{EB04A4B5-F6A7-4DB8-9CC1-D45DB1968402}" destId="{997750D4-96EB-4BB9-9AD2-9EAA9D415714}" srcOrd="0" destOrd="0" presId="urn:microsoft.com/office/officeart/2005/8/layout/hierarchy2"/>
    <dgm:cxn modelId="{8CA5482C-5516-4740-B82F-BBB4BC3DC312}" type="presOf" srcId="{0990CC55-0E43-4EA6-9548-A3C0D72A609B}" destId="{FB5E6CAF-02E8-4E9A-8BCF-F74C5C71B5B6}" srcOrd="0" destOrd="0" presId="urn:microsoft.com/office/officeart/2005/8/layout/hierarchy2"/>
    <dgm:cxn modelId="{8614765C-E5B6-42A3-A1D4-E420097430DD}" type="presOf" srcId="{ED21EC8E-332B-48CC-AF85-048623709385}" destId="{A0C5BF6F-C077-40D8-AB15-4D62BD52EACA}" srcOrd="1" destOrd="0" presId="urn:microsoft.com/office/officeart/2005/8/layout/hierarchy2"/>
    <dgm:cxn modelId="{CAA28313-7D19-4CC2-87F8-00110EA8A2EF}" type="presOf" srcId="{617A308B-6139-4337-B915-AFB7BB78EA23}" destId="{9FAD0701-F8A7-4427-944F-388FE515A7D1}" srcOrd="1" destOrd="0" presId="urn:microsoft.com/office/officeart/2005/8/layout/hierarchy2"/>
    <dgm:cxn modelId="{CEAF3A17-0408-4F46-B1CE-20B79680FF75}" type="presOf" srcId="{B9182AF4-D7C8-41DA-814C-A98616906292}" destId="{98FF3CA0-DD97-4AD8-8326-656B83C1F27F}" srcOrd="0" destOrd="0" presId="urn:microsoft.com/office/officeart/2005/8/layout/hierarchy2"/>
    <dgm:cxn modelId="{60212BDA-C750-4F5C-B910-610C0F401877}" srcId="{70C1D401-F549-4998-9AC7-34E2E183B0F1}" destId="{91946B35-FB61-4435-B472-27D53F507FC8}" srcOrd="0" destOrd="0" parTransId="{ED21EC8E-332B-48CC-AF85-048623709385}" sibTransId="{518756EB-1133-4361-A1C0-6E33D981502D}"/>
    <dgm:cxn modelId="{26880D63-C3EF-44CC-858A-0F15C67378D2}" type="presOf" srcId="{EACEF602-7402-4D3D-A67D-4151F913BC46}" destId="{D9D4955B-933C-439C-AEC7-C531B72ED1C2}" srcOrd="0" destOrd="0" presId="urn:microsoft.com/office/officeart/2005/8/layout/hierarchy2"/>
    <dgm:cxn modelId="{CD43887B-74A5-4177-8782-FB281F9616C7}" type="presOf" srcId="{ED21EC8E-332B-48CC-AF85-048623709385}" destId="{86F6C3C3-96E1-4F54-9751-EF18DB912B10}" srcOrd="0" destOrd="0" presId="urn:microsoft.com/office/officeart/2005/8/layout/hierarchy2"/>
    <dgm:cxn modelId="{E57F968A-B2BB-46D9-A2AD-5F98C38D3248}" type="presOf" srcId="{94F64C5F-1166-488E-805D-16466C8CDBC9}" destId="{369BDDC4-49FB-4C34-9030-404993A1253D}" srcOrd="0" destOrd="0" presId="urn:microsoft.com/office/officeart/2005/8/layout/hierarchy2"/>
    <dgm:cxn modelId="{00986061-7A6F-4E00-B5D8-97625F061DA2}" srcId="{70C1D401-F549-4998-9AC7-34E2E183B0F1}" destId="{B9182AF4-D7C8-41DA-814C-A98616906292}" srcOrd="2" destOrd="0" parTransId="{617A308B-6139-4337-B915-AFB7BB78EA23}" sibTransId="{7E62A0CD-1F48-4377-BB03-1AE5FD4DD2D3}"/>
    <dgm:cxn modelId="{F9487E55-8147-4AFC-92FB-9AA0478BF2AE}" type="presOf" srcId="{EACEF602-7402-4D3D-A67D-4151F913BC46}" destId="{77B66A1A-F847-43AC-9F8F-A550F9167965}" srcOrd="1" destOrd="0" presId="urn:microsoft.com/office/officeart/2005/8/layout/hierarchy2"/>
    <dgm:cxn modelId="{2521FE8B-ABB4-459F-B443-49757008C4A7}" srcId="{BB86DFC3-323C-42C4-8B60-9EED4A4CB6D0}" destId="{7A9248FC-16A8-4232-8D19-68DB83B601A4}" srcOrd="0" destOrd="0" parTransId="{81700068-F5DF-4869-88D9-DF930C22A04C}" sibTransId="{F7FED7F9-17EA-4627-9BD6-B83325D541E0}"/>
    <dgm:cxn modelId="{F26E86C0-B6BA-4182-B401-3FBDFD10C015}" type="presOf" srcId="{81700068-F5DF-4869-88D9-DF930C22A04C}" destId="{C031B15B-9D44-4C7A-B6A0-4F942BC22A34}" srcOrd="0"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D83BFF03-DC3D-44E7-A1E0-6BCFDD3B0F55}" type="presOf" srcId="{91946B35-FB61-4435-B472-27D53F507FC8}" destId="{80CA71E1-6343-478B-8E30-C76488570D46}" srcOrd="0" destOrd="0" presId="urn:microsoft.com/office/officeart/2005/8/layout/hierarchy2"/>
    <dgm:cxn modelId="{D28DF490-ADA5-4F78-836B-8393B8AEF496}" type="presOf" srcId="{94F64C5F-1166-488E-805D-16466C8CDBC9}" destId="{23A88CAE-1B32-49A7-BC80-54063F2638BD}" srcOrd="1" destOrd="0" presId="urn:microsoft.com/office/officeart/2005/8/layout/hierarchy2"/>
    <dgm:cxn modelId="{A1054AB5-275B-45E6-A292-96D99DA65083}" type="presOf" srcId="{F5E48451-1291-439A-AACE-51B417FC0454}" destId="{C24AE8BE-14DD-424E-ABF3-33969E6A8930}" srcOrd="0" destOrd="0" presId="urn:microsoft.com/office/officeart/2005/8/layout/hierarchy2"/>
    <dgm:cxn modelId="{013A52E0-D164-44F7-9485-769C0EF9A70F}" srcId="{C6059368-C166-4E6E-B46F-ED1E56DCDBEC}" destId="{70C1D401-F549-4998-9AC7-34E2E183B0F1}" srcOrd="0" destOrd="0" parTransId="{830C730A-6B27-4CE9-9397-D16CC16549DB}" sibTransId="{BAF5494C-6E87-4B3F-8CA1-26A7B5CF277B}"/>
    <dgm:cxn modelId="{7F222293-BFB7-4105-AB19-5889AE627874}" srcId="{4DAA81FC-D276-4622-B64E-8C5ED711DC81}" destId="{2778A411-F16E-4419-A994-B2A6E5EF309E}" srcOrd="0" destOrd="0" parTransId="{AD5E754F-55AD-4C03-869C-EA85A8C15E69}" sibTransId="{8521F2F8-28E7-4092-A64A-E92DB4D5DB4A}"/>
    <dgm:cxn modelId="{325D44F8-C877-41D6-8A8B-66D552115530}" srcId="{70C1D401-F549-4998-9AC7-34E2E183B0F1}" destId="{0990CC55-0E43-4EA6-9548-A3C0D72A609B}" srcOrd="3" destOrd="0" parTransId="{9202DE73-FF0D-4306-A291-92583E40F1AD}" sibTransId="{011D7C5B-001A-4093-B2E6-8D506E13C6A5}"/>
    <dgm:cxn modelId="{DD926A6D-57D5-432B-A1C0-DDB714182B32}" type="presOf" srcId="{70C1D401-F549-4998-9AC7-34E2E183B0F1}" destId="{7AB61AA6-157A-4BAF-B08E-627FA79D5692}" srcOrd="0" destOrd="0" presId="urn:microsoft.com/office/officeart/2005/8/layout/hierarchy2"/>
    <dgm:cxn modelId="{E5DB519C-28C0-448B-A16F-81D2DACE6D38}" type="presOf" srcId="{7A9248FC-16A8-4232-8D19-68DB83B601A4}" destId="{8810C41C-4351-4EFF-9BA9-47BB70FFD87B}" srcOrd="0" destOrd="0" presId="urn:microsoft.com/office/officeart/2005/8/layout/hierarchy2"/>
    <dgm:cxn modelId="{3D83F7D7-7046-4162-9650-16F117927E61}" type="presOf" srcId="{52453259-6B50-4A0E-B181-11975565F52E}" destId="{9CE49F32-2A3D-4EA0-9093-17430BB6239C}" srcOrd="0" destOrd="0" presId="urn:microsoft.com/office/officeart/2005/8/layout/hierarchy2"/>
    <dgm:cxn modelId="{254ABA00-DA76-4B75-BD67-A923EF25E4BF}" type="presOf" srcId="{C6059368-C166-4E6E-B46F-ED1E56DCDBEC}" destId="{F488260C-61F8-4C29-B796-D4A701EF67A5}" srcOrd="0" destOrd="0" presId="urn:microsoft.com/office/officeart/2005/8/layout/hierarchy2"/>
    <dgm:cxn modelId="{6EA59929-B386-49E0-BBEA-FE9FCEA41057}" type="presOf" srcId="{4DAA81FC-D276-4622-B64E-8C5ED711DC81}" destId="{9B0F9604-F19E-4BFD-8BEA-D6493A43657A}" srcOrd="0" destOrd="0" presId="urn:microsoft.com/office/officeart/2005/8/layout/hierarchy2"/>
    <dgm:cxn modelId="{B57BA992-CEFA-4B7C-AAF1-AFB76557A8DE}" type="presOf" srcId="{D71E69B1-1192-4739-8BF3-8DFDD02D960E}" destId="{A224AD52-13D7-4676-9990-3EBE447CADD2}" srcOrd="0" destOrd="0" presId="urn:microsoft.com/office/officeart/2005/8/layout/hierarchy2"/>
    <dgm:cxn modelId="{C1688557-4644-449D-9859-F60CF50A3167}" type="presOf" srcId="{2778A411-F16E-4419-A994-B2A6E5EF309E}" destId="{1CF4FAAC-77DA-470F-943B-A2DD6D0C995E}" srcOrd="0"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B28BE6EB-DC3E-4188-AFDC-1062E2947434}" type="presOf" srcId="{81700068-F5DF-4869-88D9-DF930C22A04C}" destId="{F60A74BF-AFE3-4831-9624-4E6D1808ECE3}" srcOrd="1"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146F5096-9E73-4D7F-9644-8C11B3D91063}" type="presOf" srcId="{39889D0E-2CB0-4366-8B1A-C78799290D75}" destId="{60588C8A-BA61-4F6C-A1BC-69F84DFDF320}" srcOrd="0" destOrd="0" presId="urn:microsoft.com/office/officeart/2005/8/layout/hierarchy2"/>
    <dgm:cxn modelId="{B35584A1-F399-49C7-96D4-4D1616320030}" type="presOf" srcId="{52453259-6B50-4A0E-B181-11975565F52E}" destId="{52968383-3CE3-404C-B2B5-D415B1559262}" srcOrd="1" destOrd="0" presId="urn:microsoft.com/office/officeart/2005/8/layout/hierarchy2"/>
    <dgm:cxn modelId="{C31742E9-43F4-4FE0-A62E-D47C163AEFFA}" type="presOf" srcId="{EB04A4B5-F6A7-4DB8-9CC1-D45DB1968402}" destId="{36BFF728-9692-46E2-8EED-D459AC0D82DC}" srcOrd="1" destOrd="0" presId="urn:microsoft.com/office/officeart/2005/8/layout/hierarchy2"/>
    <dgm:cxn modelId="{55DD461A-77F8-4398-922A-31135FB91A30}" type="presOf" srcId="{23F1DDD4-18C9-4077-AF79-937C61E41401}" destId="{8D871798-7B89-4BB1-9F92-9082A4DDF748}" srcOrd="0" destOrd="0" presId="urn:microsoft.com/office/officeart/2005/8/layout/hierarchy2"/>
    <dgm:cxn modelId="{A0A4A789-E61F-46EF-BE3C-1102D6670595}" type="presParOf" srcId="{F488260C-61F8-4C29-B796-D4A701EF67A5}" destId="{7FBFAD8B-1EF0-4A0B-8F20-58EE20D26EAD}" srcOrd="0" destOrd="0" presId="urn:microsoft.com/office/officeart/2005/8/layout/hierarchy2"/>
    <dgm:cxn modelId="{056FDB07-A00E-4F86-958D-A17176514B3B}" type="presParOf" srcId="{7FBFAD8B-1EF0-4A0B-8F20-58EE20D26EAD}" destId="{7AB61AA6-157A-4BAF-B08E-627FA79D5692}" srcOrd="0" destOrd="0" presId="urn:microsoft.com/office/officeart/2005/8/layout/hierarchy2"/>
    <dgm:cxn modelId="{7D257E1D-F843-42B0-8E7D-3F2438A011B9}" type="presParOf" srcId="{7FBFAD8B-1EF0-4A0B-8F20-58EE20D26EAD}" destId="{B5752B03-663F-462B-90E9-86C46A7A0067}" srcOrd="1" destOrd="0" presId="urn:microsoft.com/office/officeart/2005/8/layout/hierarchy2"/>
    <dgm:cxn modelId="{F9C4567F-1A77-46A7-9180-54FB21F59228}" type="presParOf" srcId="{B5752B03-663F-462B-90E9-86C46A7A0067}" destId="{86F6C3C3-96E1-4F54-9751-EF18DB912B10}" srcOrd="0" destOrd="0" presId="urn:microsoft.com/office/officeart/2005/8/layout/hierarchy2"/>
    <dgm:cxn modelId="{7F70B4BD-89D7-448E-B9B7-56031B428F36}" type="presParOf" srcId="{86F6C3C3-96E1-4F54-9751-EF18DB912B10}" destId="{A0C5BF6F-C077-40D8-AB15-4D62BD52EACA}" srcOrd="0" destOrd="0" presId="urn:microsoft.com/office/officeart/2005/8/layout/hierarchy2"/>
    <dgm:cxn modelId="{9AAF7D48-2D41-4180-8224-43A072E9D270}" type="presParOf" srcId="{B5752B03-663F-462B-90E9-86C46A7A0067}" destId="{640CF9A2-A8A2-4424-AD46-6BFAD745C71A}" srcOrd="1" destOrd="0" presId="urn:microsoft.com/office/officeart/2005/8/layout/hierarchy2"/>
    <dgm:cxn modelId="{E4F2D0A8-4177-4371-A038-888877C8191D}" type="presParOf" srcId="{640CF9A2-A8A2-4424-AD46-6BFAD745C71A}" destId="{80CA71E1-6343-478B-8E30-C76488570D46}" srcOrd="0" destOrd="0" presId="urn:microsoft.com/office/officeart/2005/8/layout/hierarchy2"/>
    <dgm:cxn modelId="{C8A7EB64-5AB8-4EC8-A6DD-408A261C02BF}" type="presParOf" srcId="{640CF9A2-A8A2-4424-AD46-6BFAD745C71A}" destId="{0CD26CC9-A48D-4B81-8D50-34A2A6D2C92E}" srcOrd="1" destOrd="0" presId="urn:microsoft.com/office/officeart/2005/8/layout/hierarchy2"/>
    <dgm:cxn modelId="{D2545168-54F8-47B4-A51D-5419EED6E7D5}" type="presParOf" srcId="{0CD26CC9-A48D-4B81-8D50-34A2A6D2C92E}" destId="{D9D4955B-933C-439C-AEC7-C531B72ED1C2}" srcOrd="0" destOrd="0" presId="urn:microsoft.com/office/officeart/2005/8/layout/hierarchy2"/>
    <dgm:cxn modelId="{90ADCA0B-4193-4676-9456-941A258F9AE8}" type="presParOf" srcId="{D9D4955B-933C-439C-AEC7-C531B72ED1C2}" destId="{77B66A1A-F847-43AC-9F8F-A550F9167965}" srcOrd="0" destOrd="0" presId="urn:microsoft.com/office/officeart/2005/8/layout/hierarchy2"/>
    <dgm:cxn modelId="{BB32BFB3-9483-4578-A35E-D3C057AAF550}" type="presParOf" srcId="{0CD26CC9-A48D-4B81-8D50-34A2A6D2C92E}" destId="{429479C8-AA39-439F-907E-82D71C66CBDC}" srcOrd="1" destOrd="0" presId="urn:microsoft.com/office/officeart/2005/8/layout/hierarchy2"/>
    <dgm:cxn modelId="{63EDB841-5E60-43FC-BA3E-22FAFD4F8BD6}" type="presParOf" srcId="{429479C8-AA39-439F-907E-82D71C66CBDC}" destId="{A224AD52-13D7-4676-9990-3EBE447CADD2}" srcOrd="0" destOrd="0" presId="urn:microsoft.com/office/officeart/2005/8/layout/hierarchy2"/>
    <dgm:cxn modelId="{1CADE0DE-601D-4F67-969C-51B919285CE3}" type="presParOf" srcId="{429479C8-AA39-439F-907E-82D71C66CBDC}" destId="{FFBF483B-B4AE-4803-A50A-8EB215ADEE1B}" srcOrd="1" destOrd="0" presId="urn:microsoft.com/office/officeart/2005/8/layout/hierarchy2"/>
    <dgm:cxn modelId="{E9666484-9A58-4303-9B94-AFFFFAC6D54E}" type="presParOf" srcId="{B5752B03-663F-462B-90E9-86C46A7A0067}" destId="{369BDDC4-49FB-4C34-9030-404993A1253D}" srcOrd="2" destOrd="0" presId="urn:microsoft.com/office/officeart/2005/8/layout/hierarchy2"/>
    <dgm:cxn modelId="{71088236-06F3-48BF-A316-F76EDF6871F6}" type="presParOf" srcId="{369BDDC4-49FB-4C34-9030-404993A1253D}" destId="{23A88CAE-1B32-49A7-BC80-54063F2638BD}" srcOrd="0" destOrd="0" presId="urn:microsoft.com/office/officeart/2005/8/layout/hierarchy2"/>
    <dgm:cxn modelId="{BD81C62D-07E7-4AA3-8B43-311D47444397}" type="presParOf" srcId="{B5752B03-663F-462B-90E9-86C46A7A0067}" destId="{1321E139-75D4-4BB9-9FBF-2A521C8F6AC2}" srcOrd="3" destOrd="0" presId="urn:microsoft.com/office/officeart/2005/8/layout/hierarchy2"/>
    <dgm:cxn modelId="{54E3CCC4-A9B8-4EAD-87B0-240BDF503FE2}" type="presParOf" srcId="{1321E139-75D4-4BB9-9FBF-2A521C8F6AC2}" destId="{9B0F9604-F19E-4BFD-8BEA-D6493A43657A}" srcOrd="0" destOrd="0" presId="urn:microsoft.com/office/officeart/2005/8/layout/hierarchy2"/>
    <dgm:cxn modelId="{8BFC7DC3-E0D0-46FA-8ED9-B161AFD33668}" type="presParOf" srcId="{1321E139-75D4-4BB9-9FBF-2A521C8F6AC2}" destId="{60EC70D2-50C7-4145-8754-867741AAB1EC}" srcOrd="1" destOrd="0" presId="urn:microsoft.com/office/officeart/2005/8/layout/hierarchy2"/>
    <dgm:cxn modelId="{C6225DE9-4BD0-4FC0-824D-D8783397D548}" type="presParOf" srcId="{60EC70D2-50C7-4145-8754-867741AAB1EC}" destId="{F80676AA-DE2E-4AFD-93C1-7DACCBB903AA}" srcOrd="0" destOrd="0" presId="urn:microsoft.com/office/officeart/2005/8/layout/hierarchy2"/>
    <dgm:cxn modelId="{48426D44-E5A3-43CC-A097-BAF26B9CE3C6}" type="presParOf" srcId="{F80676AA-DE2E-4AFD-93C1-7DACCBB903AA}" destId="{9EEE2724-A596-47BD-AE2D-77A1BF2174A2}" srcOrd="0" destOrd="0" presId="urn:microsoft.com/office/officeart/2005/8/layout/hierarchy2"/>
    <dgm:cxn modelId="{61DAF246-35A0-4086-9004-07DB0D8BD319}" type="presParOf" srcId="{60EC70D2-50C7-4145-8754-867741AAB1EC}" destId="{4566F355-36D2-4D24-854C-C99CB6997621}" srcOrd="1" destOrd="0" presId="urn:microsoft.com/office/officeart/2005/8/layout/hierarchy2"/>
    <dgm:cxn modelId="{69DEFB4C-A5B6-4051-AB7F-32EF59F268D5}" type="presParOf" srcId="{4566F355-36D2-4D24-854C-C99CB6997621}" destId="{1CF4FAAC-77DA-470F-943B-A2DD6D0C995E}" srcOrd="0" destOrd="0" presId="urn:microsoft.com/office/officeart/2005/8/layout/hierarchy2"/>
    <dgm:cxn modelId="{170D1C0A-4800-4956-8B3E-72D2DF1B680A}" type="presParOf" srcId="{4566F355-36D2-4D24-854C-C99CB6997621}" destId="{1D1FF220-DC09-42E3-8D8D-42C2933255A3}" srcOrd="1" destOrd="0" presId="urn:microsoft.com/office/officeart/2005/8/layout/hierarchy2"/>
    <dgm:cxn modelId="{C6F00666-44E1-4D12-86BF-6262F70D9DF4}" type="presParOf" srcId="{B5752B03-663F-462B-90E9-86C46A7A0067}" destId="{F581B964-879D-4887-8B8C-E9F043E1ACEF}" srcOrd="4" destOrd="0" presId="urn:microsoft.com/office/officeart/2005/8/layout/hierarchy2"/>
    <dgm:cxn modelId="{1B137DA4-4753-4222-8ECD-17179A168183}" type="presParOf" srcId="{F581B964-879D-4887-8B8C-E9F043E1ACEF}" destId="{9FAD0701-F8A7-4427-944F-388FE515A7D1}" srcOrd="0" destOrd="0" presId="urn:microsoft.com/office/officeart/2005/8/layout/hierarchy2"/>
    <dgm:cxn modelId="{784B704F-EE55-458F-81DF-47C2D85CA00D}" type="presParOf" srcId="{B5752B03-663F-462B-90E9-86C46A7A0067}" destId="{89E27797-3811-4D6B-A3D2-0FC4E4F5904B}" srcOrd="5" destOrd="0" presId="urn:microsoft.com/office/officeart/2005/8/layout/hierarchy2"/>
    <dgm:cxn modelId="{DF80EE3C-7E97-4A4A-9ECA-3AC8857DDCC3}" type="presParOf" srcId="{89E27797-3811-4D6B-A3D2-0FC4E4F5904B}" destId="{98FF3CA0-DD97-4AD8-8326-656B83C1F27F}" srcOrd="0" destOrd="0" presId="urn:microsoft.com/office/officeart/2005/8/layout/hierarchy2"/>
    <dgm:cxn modelId="{D8214F53-F80C-4872-A9E7-B8DA9E6B6A1D}" type="presParOf" srcId="{89E27797-3811-4D6B-A3D2-0FC4E4F5904B}" destId="{90378B34-9D2B-40BC-AECB-8990166E0CED}" srcOrd="1" destOrd="0" presId="urn:microsoft.com/office/officeart/2005/8/layout/hierarchy2"/>
    <dgm:cxn modelId="{8F273C91-79BA-4418-8CE1-A79D2423744E}" type="presParOf" srcId="{90378B34-9D2B-40BC-AECB-8990166E0CED}" destId="{60588C8A-BA61-4F6C-A1BC-69F84DFDF320}" srcOrd="0" destOrd="0" presId="urn:microsoft.com/office/officeart/2005/8/layout/hierarchy2"/>
    <dgm:cxn modelId="{33122F52-604F-43AD-871D-1865A82339BF}" type="presParOf" srcId="{60588C8A-BA61-4F6C-A1BC-69F84DFDF320}" destId="{5ECFEAD0-40A9-4A3A-8058-5085F095EF10}" srcOrd="0" destOrd="0" presId="urn:microsoft.com/office/officeart/2005/8/layout/hierarchy2"/>
    <dgm:cxn modelId="{8EBF9858-64B0-4032-9E17-792EA995F94F}" type="presParOf" srcId="{90378B34-9D2B-40BC-AECB-8990166E0CED}" destId="{E694F80D-80E9-47D7-9503-4511C28D7608}" srcOrd="1" destOrd="0" presId="urn:microsoft.com/office/officeart/2005/8/layout/hierarchy2"/>
    <dgm:cxn modelId="{4656CA58-4712-4579-87E2-DC0F477391C3}" type="presParOf" srcId="{E694F80D-80E9-47D7-9503-4511C28D7608}" destId="{C24AE8BE-14DD-424E-ABF3-33969E6A8930}" srcOrd="0" destOrd="0" presId="urn:microsoft.com/office/officeart/2005/8/layout/hierarchy2"/>
    <dgm:cxn modelId="{D39F9DB0-7016-439A-B821-363E84DB630F}" type="presParOf" srcId="{E694F80D-80E9-47D7-9503-4511C28D7608}" destId="{DC1C4460-E3E5-4566-BEA6-6C74F1EB8EBF}" srcOrd="1" destOrd="0" presId="urn:microsoft.com/office/officeart/2005/8/layout/hierarchy2"/>
    <dgm:cxn modelId="{5A65BFA3-B27F-4BE5-8FC6-0FE9426B9F93}" type="presParOf" srcId="{B5752B03-663F-462B-90E9-86C46A7A0067}" destId="{58F8907F-179B-4183-BCFF-E9BED704BD3D}" srcOrd="6" destOrd="0" presId="urn:microsoft.com/office/officeart/2005/8/layout/hierarchy2"/>
    <dgm:cxn modelId="{D709B051-0945-41E1-9E59-10F28E1EDBD8}" type="presParOf" srcId="{58F8907F-179B-4183-BCFF-E9BED704BD3D}" destId="{1F8BF095-AB30-4698-B19B-035BBD5F2472}" srcOrd="0" destOrd="0" presId="urn:microsoft.com/office/officeart/2005/8/layout/hierarchy2"/>
    <dgm:cxn modelId="{0FCCAF98-7072-4065-B1E7-119A73F7C49B}" type="presParOf" srcId="{B5752B03-663F-462B-90E9-86C46A7A0067}" destId="{0D5BE750-7CB0-4633-8C28-C62CABAFB126}" srcOrd="7" destOrd="0" presId="urn:microsoft.com/office/officeart/2005/8/layout/hierarchy2"/>
    <dgm:cxn modelId="{219140BC-07A0-4B26-8F60-5FBBE9768789}" type="presParOf" srcId="{0D5BE750-7CB0-4633-8C28-C62CABAFB126}" destId="{FB5E6CAF-02E8-4E9A-8BCF-F74C5C71B5B6}" srcOrd="0" destOrd="0" presId="urn:microsoft.com/office/officeart/2005/8/layout/hierarchy2"/>
    <dgm:cxn modelId="{5E5A5AE7-F6AB-4315-A30E-EF96DD179256}" type="presParOf" srcId="{0D5BE750-7CB0-4633-8C28-C62CABAFB126}" destId="{CA3876C3-2C04-4636-8D50-CDFC545DB5B8}" srcOrd="1" destOrd="0" presId="urn:microsoft.com/office/officeart/2005/8/layout/hierarchy2"/>
    <dgm:cxn modelId="{1704B478-5CD4-42AB-8CD8-82982D8BBC62}" type="presParOf" srcId="{CA3876C3-2C04-4636-8D50-CDFC545DB5B8}" destId="{9CE49F32-2A3D-4EA0-9093-17430BB6239C}" srcOrd="0" destOrd="0" presId="urn:microsoft.com/office/officeart/2005/8/layout/hierarchy2"/>
    <dgm:cxn modelId="{CDAF9387-2F94-4616-896F-5BAA17BB4CC4}" type="presParOf" srcId="{9CE49F32-2A3D-4EA0-9093-17430BB6239C}" destId="{52968383-3CE3-404C-B2B5-D415B1559262}" srcOrd="0" destOrd="0" presId="urn:microsoft.com/office/officeart/2005/8/layout/hierarchy2"/>
    <dgm:cxn modelId="{8AE6FC63-9F28-4C55-A679-34F3AFA8A75D}" type="presParOf" srcId="{CA3876C3-2C04-4636-8D50-CDFC545DB5B8}" destId="{C1D26D2E-9C22-4FC3-9BB7-93C55B407934}" srcOrd="1" destOrd="0" presId="urn:microsoft.com/office/officeart/2005/8/layout/hierarchy2"/>
    <dgm:cxn modelId="{5005CCC3-AF68-4263-90C4-F4145DBC7433}" type="presParOf" srcId="{C1D26D2E-9C22-4FC3-9BB7-93C55B407934}" destId="{8D871798-7B89-4BB1-9F92-9082A4DDF748}" srcOrd="0" destOrd="0" presId="urn:microsoft.com/office/officeart/2005/8/layout/hierarchy2"/>
    <dgm:cxn modelId="{A036E1CA-2292-476F-95E2-F44ECF9DF8B5}" type="presParOf" srcId="{C1D26D2E-9C22-4FC3-9BB7-93C55B407934}" destId="{A6B2F1FE-FFD9-4CD3-A592-F27A9AD08700}" srcOrd="1" destOrd="0" presId="urn:microsoft.com/office/officeart/2005/8/layout/hierarchy2"/>
    <dgm:cxn modelId="{52CD4BF9-2203-4036-827B-378FE323815D}" type="presParOf" srcId="{B5752B03-663F-462B-90E9-86C46A7A0067}" destId="{997750D4-96EB-4BB9-9AD2-9EAA9D415714}" srcOrd="8" destOrd="0" presId="urn:microsoft.com/office/officeart/2005/8/layout/hierarchy2"/>
    <dgm:cxn modelId="{8F342C88-3A5E-40B5-A206-617ED32F112D}" type="presParOf" srcId="{997750D4-96EB-4BB9-9AD2-9EAA9D415714}" destId="{36BFF728-9692-46E2-8EED-D459AC0D82DC}" srcOrd="0" destOrd="0" presId="urn:microsoft.com/office/officeart/2005/8/layout/hierarchy2"/>
    <dgm:cxn modelId="{83198350-BEDF-4D7F-934B-1A56F2890AA7}" type="presParOf" srcId="{B5752B03-663F-462B-90E9-86C46A7A0067}" destId="{8C5257B3-129C-4E16-A52F-2F059382ED0A}" srcOrd="9" destOrd="0" presId="urn:microsoft.com/office/officeart/2005/8/layout/hierarchy2"/>
    <dgm:cxn modelId="{948200AA-74AF-4D8E-AC2C-602AB19A5F5A}" type="presParOf" srcId="{8C5257B3-129C-4E16-A52F-2F059382ED0A}" destId="{E410C2DD-2B95-42B2-86D4-32F15B352216}" srcOrd="0" destOrd="0" presId="urn:microsoft.com/office/officeart/2005/8/layout/hierarchy2"/>
    <dgm:cxn modelId="{4BA40F4A-A534-45E5-AFA8-258F569D4F34}" type="presParOf" srcId="{8C5257B3-129C-4E16-A52F-2F059382ED0A}" destId="{7E5531AA-E9AA-4244-B670-B72D22716C3C}" srcOrd="1" destOrd="0" presId="urn:microsoft.com/office/officeart/2005/8/layout/hierarchy2"/>
    <dgm:cxn modelId="{8C9517A8-A9C2-4A99-8E56-0DB4CAFF6104}" type="presParOf" srcId="{7E5531AA-E9AA-4244-B670-B72D22716C3C}" destId="{C031B15B-9D44-4C7A-B6A0-4F942BC22A34}" srcOrd="0" destOrd="0" presId="urn:microsoft.com/office/officeart/2005/8/layout/hierarchy2"/>
    <dgm:cxn modelId="{BD5DAD37-95A0-4342-8022-9B2EA49633FB}" type="presParOf" srcId="{C031B15B-9D44-4C7A-B6A0-4F942BC22A34}" destId="{F60A74BF-AFE3-4831-9624-4E6D1808ECE3}" srcOrd="0" destOrd="0" presId="urn:microsoft.com/office/officeart/2005/8/layout/hierarchy2"/>
    <dgm:cxn modelId="{611F5C4B-EB38-4EDF-8018-058521ED4E83}" type="presParOf" srcId="{7E5531AA-E9AA-4244-B670-B72D22716C3C}" destId="{8E9A76C1-BB6F-46B9-8641-293ABB356CB8}" srcOrd="1" destOrd="0" presId="urn:microsoft.com/office/officeart/2005/8/layout/hierarchy2"/>
    <dgm:cxn modelId="{FDC6CF8B-7F40-4D2F-8311-076750ECFC3D}" type="presParOf" srcId="{8E9A76C1-BB6F-46B9-8641-293ABB356CB8}" destId="{8810C41C-4351-4EFF-9BA9-47BB70FFD87B}" srcOrd="0" destOrd="0" presId="urn:microsoft.com/office/officeart/2005/8/layout/hierarchy2"/>
    <dgm:cxn modelId="{BB986E7E-87D8-4556-9013-2BA4278A3109}"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326C8F3B-CBCF-4BD7-9C2F-3B15BB4D9A91}" type="presOf" srcId="{F2103179-96ED-4A7F-B05C-6921D6031C09}" destId="{B2BFB56C-67A7-452B-802F-5F7E827C13F9}" srcOrd="0" destOrd="0" presId="urn:microsoft.com/office/officeart/2005/8/layout/default"/>
    <dgm:cxn modelId="{44449C6F-F79F-4F92-8950-3B819A78BF4A}"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D81C86AD-38B4-4563-B062-A715EF166533}"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36DC2F43-14F2-481A-BB62-2019C2E1AC44}" type="presOf" srcId="{AF416352-CE85-458F-A403-D1461F23E8F6}" destId="{B3D60F83-A71F-4664-B2E0-FDAF1E1F667A}" srcOrd="0" destOrd="0" presId="urn:microsoft.com/office/officeart/2005/8/layout/default"/>
    <dgm:cxn modelId="{00B57323-5791-43AD-BA90-996B01610892}" type="presOf" srcId="{749654BA-097A-4093-B81D-F0D7C8F45CDF}" destId="{D38C2A64-A10E-4419-8CC2-7C9DBC741F60}" srcOrd="0" destOrd="0" presId="urn:microsoft.com/office/officeart/2005/8/layout/default"/>
    <dgm:cxn modelId="{E33C6FE3-5340-4D85-B3AB-F2373DE6EA7D}" type="presOf" srcId="{B305BEE9-96E7-4D38-B9B2-E40B0F514BFD}" destId="{D103E3C0-707E-4981-B759-BBF58D011072}"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BB4B8FFD-5F45-4A0A-937A-7E7BEBC60686}" type="presOf" srcId="{74B70E5F-85FA-42B8-A7FE-FD42B697C579}" destId="{AD9EF522-A474-43A3-8895-E1B5C946DABC}" srcOrd="0" destOrd="0" presId="urn:microsoft.com/office/officeart/2005/8/layout/default"/>
    <dgm:cxn modelId="{7761C83B-0AB5-4358-9E7B-9857C5F30C1D}" type="presParOf" srcId="{2AFE754E-A9BE-43F0-99CC-FD0E25860E09}" destId="{AD9EF522-A474-43A3-8895-E1B5C946DABC}" srcOrd="0" destOrd="0" presId="urn:microsoft.com/office/officeart/2005/8/layout/default"/>
    <dgm:cxn modelId="{404B9AEF-4B5A-4867-86EB-4576BFC5923D}" type="presParOf" srcId="{2AFE754E-A9BE-43F0-99CC-FD0E25860E09}" destId="{0337DDA8-12A4-4D35-A6BA-A52F916C71F9}" srcOrd="1" destOrd="0" presId="urn:microsoft.com/office/officeart/2005/8/layout/default"/>
    <dgm:cxn modelId="{A6B216DA-F8A5-4127-A274-B43425D6B67F}" type="presParOf" srcId="{2AFE754E-A9BE-43F0-99CC-FD0E25860E09}" destId="{F626D2C1-E362-4EE4-A84D-3ECF9A9E587C}" srcOrd="2" destOrd="0" presId="urn:microsoft.com/office/officeart/2005/8/layout/default"/>
    <dgm:cxn modelId="{DB21EFBA-27E0-4EA8-8F37-49C7DB3D0DE3}" type="presParOf" srcId="{2AFE754E-A9BE-43F0-99CC-FD0E25860E09}" destId="{B0E36A32-ED2F-4B07-A82C-07B5A09FFFAF}" srcOrd="3" destOrd="0" presId="urn:microsoft.com/office/officeart/2005/8/layout/default"/>
    <dgm:cxn modelId="{30B43BF5-7E8C-482C-88A6-6ACB1CF736A8}" type="presParOf" srcId="{2AFE754E-A9BE-43F0-99CC-FD0E25860E09}" destId="{D103E3C0-707E-4981-B759-BBF58D011072}" srcOrd="4" destOrd="0" presId="urn:microsoft.com/office/officeart/2005/8/layout/default"/>
    <dgm:cxn modelId="{43EA2615-4FFE-4C64-AB45-70C07B55CDBF}" type="presParOf" srcId="{2AFE754E-A9BE-43F0-99CC-FD0E25860E09}" destId="{E5900466-67F8-46B4-B51F-DC4C80A488EE}" srcOrd="5" destOrd="0" presId="urn:microsoft.com/office/officeart/2005/8/layout/default"/>
    <dgm:cxn modelId="{F97AA28C-96BE-4BD1-8F66-C6F6797C289C}" type="presParOf" srcId="{2AFE754E-A9BE-43F0-99CC-FD0E25860E09}" destId="{D38C2A64-A10E-4419-8CC2-7C9DBC741F60}" srcOrd="6" destOrd="0" presId="urn:microsoft.com/office/officeart/2005/8/layout/default"/>
    <dgm:cxn modelId="{93F12553-3214-4938-A9B2-10363374BD1C}" type="presParOf" srcId="{2AFE754E-A9BE-43F0-99CC-FD0E25860E09}" destId="{27184C94-8BBD-4279-BF24-E340D2BB3CF4}" srcOrd="7" destOrd="0" presId="urn:microsoft.com/office/officeart/2005/8/layout/default"/>
    <dgm:cxn modelId="{80859170-470A-4091-BEC6-98CB68DEF0B8}" type="presParOf" srcId="{2AFE754E-A9BE-43F0-99CC-FD0E25860E09}" destId="{B3D60F83-A71F-4664-B2E0-FDAF1E1F667A}" srcOrd="8" destOrd="0" presId="urn:microsoft.com/office/officeart/2005/8/layout/default"/>
    <dgm:cxn modelId="{CEEA44F0-27C4-4A4D-B841-674739750D88}" type="presParOf" srcId="{2AFE754E-A9BE-43F0-99CC-FD0E25860E09}" destId="{7494D5FB-4DF4-427E-A02C-DF883CFADE6A}" srcOrd="9" destOrd="0" presId="urn:microsoft.com/office/officeart/2005/8/layout/default"/>
    <dgm:cxn modelId="{4DDA63E2-094D-438D-9D00-8DB2CCE11F4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77AC6821-4048-42EC-AEFE-5486291248FD}" type="presOf" srcId="{AF416352-CE85-458F-A403-D1461F23E8F6}" destId="{B3D60F83-A71F-4664-B2E0-FDAF1E1F667A}" srcOrd="0" destOrd="0" presId="urn:microsoft.com/office/officeart/2005/8/layout/default"/>
    <dgm:cxn modelId="{EB4DE310-C34D-42E1-AF9F-BD69C0E88466}" type="presOf" srcId="{FAB1662F-7421-4F7B-A5C0-57390BFE5777}" destId="{2AFE754E-A9BE-43F0-99CC-FD0E25860E0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6E648016-E5DC-483C-8C73-7CF538886D35}" type="presOf" srcId="{F2103179-96ED-4A7F-B05C-6921D6031C09}" destId="{B2BFB56C-67A7-452B-802F-5F7E827C13F9}" srcOrd="0" destOrd="0" presId="urn:microsoft.com/office/officeart/2005/8/layout/default"/>
    <dgm:cxn modelId="{E7DB3DBF-901E-4818-A383-F1BA3DFF134D}" type="presOf" srcId="{74B70E5F-85FA-42B8-A7FE-FD42B697C579}" destId="{AD9EF522-A474-43A3-8895-E1B5C946DABC}"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348C32A-DA06-41BB-BC8C-E0ED54B676F9}"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C5222BCF-7E60-4553-A149-A70A63B0CD73}" type="presOf" srcId="{F5192B22-188D-4905-865D-FB0F06FA51E5}" destId="{F626D2C1-E362-4EE4-A84D-3ECF9A9E587C}" srcOrd="0" destOrd="0" presId="urn:microsoft.com/office/officeart/2005/8/layout/default"/>
    <dgm:cxn modelId="{92FAC057-4163-4E2E-862E-DA30B41FE4BB}"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7A7D93B6-68CE-423B-8288-BF315D522984}" type="presParOf" srcId="{2AFE754E-A9BE-43F0-99CC-FD0E25860E09}" destId="{AD9EF522-A474-43A3-8895-E1B5C946DABC}" srcOrd="0" destOrd="0" presId="urn:microsoft.com/office/officeart/2005/8/layout/default"/>
    <dgm:cxn modelId="{3A2629A3-B194-4873-B06A-D07265A91E18}" type="presParOf" srcId="{2AFE754E-A9BE-43F0-99CC-FD0E25860E09}" destId="{0337DDA8-12A4-4D35-A6BA-A52F916C71F9}" srcOrd="1" destOrd="0" presId="urn:microsoft.com/office/officeart/2005/8/layout/default"/>
    <dgm:cxn modelId="{ECFCCD21-3D83-4C78-9F7F-E2443A4C3706}" type="presParOf" srcId="{2AFE754E-A9BE-43F0-99CC-FD0E25860E09}" destId="{F626D2C1-E362-4EE4-A84D-3ECF9A9E587C}" srcOrd="2" destOrd="0" presId="urn:microsoft.com/office/officeart/2005/8/layout/default"/>
    <dgm:cxn modelId="{C0515D06-2D05-4D59-BA2A-7613AA13D87A}" type="presParOf" srcId="{2AFE754E-A9BE-43F0-99CC-FD0E25860E09}" destId="{B0E36A32-ED2F-4B07-A82C-07B5A09FFFAF}" srcOrd="3" destOrd="0" presId="urn:microsoft.com/office/officeart/2005/8/layout/default"/>
    <dgm:cxn modelId="{69DBD1C0-4DD0-423D-9564-55E3E0E20907}" type="presParOf" srcId="{2AFE754E-A9BE-43F0-99CC-FD0E25860E09}" destId="{D103E3C0-707E-4981-B759-BBF58D011072}" srcOrd="4" destOrd="0" presId="urn:microsoft.com/office/officeart/2005/8/layout/default"/>
    <dgm:cxn modelId="{6ABFC3A0-E180-448A-A861-0FF24418622A}" type="presParOf" srcId="{2AFE754E-A9BE-43F0-99CC-FD0E25860E09}" destId="{E5900466-67F8-46B4-B51F-DC4C80A488EE}" srcOrd="5" destOrd="0" presId="urn:microsoft.com/office/officeart/2005/8/layout/default"/>
    <dgm:cxn modelId="{325C92EE-3E8A-46EE-AC35-7C001233CB40}" type="presParOf" srcId="{2AFE754E-A9BE-43F0-99CC-FD0E25860E09}" destId="{D38C2A64-A10E-4419-8CC2-7C9DBC741F60}" srcOrd="6" destOrd="0" presId="urn:microsoft.com/office/officeart/2005/8/layout/default"/>
    <dgm:cxn modelId="{BA5660AA-6504-40D1-959B-1F28DA56ACBD}" type="presParOf" srcId="{2AFE754E-A9BE-43F0-99CC-FD0E25860E09}" destId="{27184C94-8BBD-4279-BF24-E340D2BB3CF4}" srcOrd="7" destOrd="0" presId="urn:microsoft.com/office/officeart/2005/8/layout/default"/>
    <dgm:cxn modelId="{07DB96C9-401B-40AE-B96F-F8A478BDAF17}" type="presParOf" srcId="{2AFE754E-A9BE-43F0-99CC-FD0E25860E09}" destId="{B3D60F83-A71F-4664-B2E0-FDAF1E1F667A}" srcOrd="8" destOrd="0" presId="urn:microsoft.com/office/officeart/2005/8/layout/default"/>
    <dgm:cxn modelId="{A74937FF-43D7-4F9F-BC6C-A20B4D3D6B59}" type="presParOf" srcId="{2AFE754E-A9BE-43F0-99CC-FD0E25860E09}" destId="{7494D5FB-4DF4-427E-A02C-DF883CFADE6A}" srcOrd="9" destOrd="0" presId="urn:microsoft.com/office/officeart/2005/8/layout/default"/>
    <dgm:cxn modelId="{B6610352-63C9-48D7-826A-9DBD17464886}"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FD92C96-D3C2-4276-8996-35EB1837FAAE}" type="presOf" srcId="{74B70E5F-85FA-42B8-A7FE-FD42B697C579}" destId="{AD9EF522-A474-43A3-8895-E1B5C946DABC}" srcOrd="0" destOrd="0" presId="urn:microsoft.com/office/officeart/2005/8/layout/default"/>
    <dgm:cxn modelId="{260123D1-7A5D-48BD-9688-759010D5C4F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4C2B1DAD-1DF0-413F-A6B5-1C0EDC35D6FD}" type="presOf" srcId="{F2103179-96ED-4A7F-B05C-6921D6031C09}" destId="{B2BFB56C-67A7-452B-802F-5F7E827C13F9}" srcOrd="0" destOrd="0" presId="urn:microsoft.com/office/officeart/2005/8/layout/default"/>
    <dgm:cxn modelId="{31B33514-6013-47DC-B86A-23F3159F54AF}" type="presOf" srcId="{AF416352-CE85-458F-A403-D1461F23E8F6}" destId="{B3D60F83-A71F-4664-B2E0-FDAF1E1F667A}" srcOrd="0" destOrd="0" presId="urn:microsoft.com/office/officeart/2005/8/layout/default"/>
    <dgm:cxn modelId="{D8DC88F1-B160-4372-928D-4476D0A2D660}" type="presOf" srcId="{F5192B22-188D-4905-865D-FB0F06FA51E5}" destId="{F626D2C1-E362-4EE4-A84D-3ECF9A9E587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97A8D6A-F386-41C5-905F-F0DBF786B8FF}"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BE90DCF-A111-493D-84C1-4059BBB026B1}" type="presOf" srcId="{749654BA-097A-4093-B81D-F0D7C8F45CDF}" destId="{D38C2A64-A10E-4419-8CC2-7C9DBC741F60}" srcOrd="0" destOrd="0" presId="urn:microsoft.com/office/officeart/2005/8/layout/default"/>
    <dgm:cxn modelId="{B7427433-1C3F-464A-8A45-48360534B913}" type="presParOf" srcId="{2AFE754E-A9BE-43F0-99CC-FD0E25860E09}" destId="{AD9EF522-A474-43A3-8895-E1B5C946DABC}" srcOrd="0" destOrd="0" presId="urn:microsoft.com/office/officeart/2005/8/layout/default"/>
    <dgm:cxn modelId="{6D778BF3-19DF-4CE1-B4E6-AC7014BA15D3}" type="presParOf" srcId="{2AFE754E-A9BE-43F0-99CC-FD0E25860E09}" destId="{0337DDA8-12A4-4D35-A6BA-A52F916C71F9}" srcOrd="1" destOrd="0" presId="urn:microsoft.com/office/officeart/2005/8/layout/default"/>
    <dgm:cxn modelId="{D64EE653-BA4C-4E5D-8B92-4EDE87927D90}" type="presParOf" srcId="{2AFE754E-A9BE-43F0-99CC-FD0E25860E09}" destId="{F626D2C1-E362-4EE4-A84D-3ECF9A9E587C}" srcOrd="2" destOrd="0" presId="urn:microsoft.com/office/officeart/2005/8/layout/default"/>
    <dgm:cxn modelId="{1D892134-B56B-4AB6-BC12-74A5D9A0E674}" type="presParOf" srcId="{2AFE754E-A9BE-43F0-99CC-FD0E25860E09}" destId="{B0E36A32-ED2F-4B07-A82C-07B5A09FFFAF}" srcOrd="3" destOrd="0" presId="urn:microsoft.com/office/officeart/2005/8/layout/default"/>
    <dgm:cxn modelId="{300684C1-8B0B-4586-953E-3F00EEB73FF0}" type="presParOf" srcId="{2AFE754E-A9BE-43F0-99CC-FD0E25860E09}" destId="{D103E3C0-707E-4981-B759-BBF58D011072}" srcOrd="4" destOrd="0" presId="urn:microsoft.com/office/officeart/2005/8/layout/default"/>
    <dgm:cxn modelId="{F8A38DD7-CF6C-4A4A-8F61-07D3ABB8D1C3}" type="presParOf" srcId="{2AFE754E-A9BE-43F0-99CC-FD0E25860E09}" destId="{E5900466-67F8-46B4-B51F-DC4C80A488EE}" srcOrd="5" destOrd="0" presId="urn:microsoft.com/office/officeart/2005/8/layout/default"/>
    <dgm:cxn modelId="{66029A97-6EF0-4000-BB01-F7F9D6DD41C8}" type="presParOf" srcId="{2AFE754E-A9BE-43F0-99CC-FD0E25860E09}" destId="{D38C2A64-A10E-4419-8CC2-7C9DBC741F60}" srcOrd="6" destOrd="0" presId="urn:microsoft.com/office/officeart/2005/8/layout/default"/>
    <dgm:cxn modelId="{1E2F6009-F125-4D87-B7AC-CA8191DB2EA5}" type="presParOf" srcId="{2AFE754E-A9BE-43F0-99CC-FD0E25860E09}" destId="{27184C94-8BBD-4279-BF24-E340D2BB3CF4}" srcOrd="7" destOrd="0" presId="urn:microsoft.com/office/officeart/2005/8/layout/default"/>
    <dgm:cxn modelId="{8B2B350C-B756-4DD5-9B80-175D389318EE}" type="presParOf" srcId="{2AFE754E-A9BE-43F0-99CC-FD0E25860E09}" destId="{B3D60F83-A71F-4664-B2E0-FDAF1E1F667A}" srcOrd="8" destOrd="0" presId="urn:microsoft.com/office/officeart/2005/8/layout/default"/>
    <dgm:cxn modelId="{841AA4B7-FE29-490A-8C00-6FEACF1F9B15}" type="presParOf" srcId="{2AFE754E-A9BE-43F0-99CC-FD0E25860E09}" destId="{7494D5FB-4DF4-427E-A02C-DF883CFADE6A}" srcOrd="9" destOrd="0" presId="urn:microsoft.com/office/officeart/2005/8/layout/default"/>
    <dgm:cxn modelId="{403AB2FE-56F4-4678-AFA5-AA281B972E6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1558BFD0-03B8-4494-AD74-7CC335213498}"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4A7FD812-4B1C-477B-8365-64A708C244D4}" type="presOf" srcId="{FAB1662F-7421-4F7B-A5C0-57390BFE5777}" destId="{2AFE754E-A9BE-43F0-99CC-FD0E25860E09}"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8361FE1E-DF58-4941-ACBB-520DBC2DEE61}" type="presOf" srcId="{74B70E5F-85FA-42B8-A7FE-FD42B697C579}" destId="{AD9EF522-A474-43A3-8895-E1B5C946DABC}" srcOrd="0" destOrd="0" presId="urn:microsoft.com/office/officeart/2005/8/layout/default"/>
    <dgm:cxn modelId="{AFFBCD66-ED28-45A9-ACE2-6287042071F5}" type="presOf" srcId="{F2103179-96ED-4A7F-B05C-6921D6031C09}" destId="{B2BFB56C-67A7-452B-802F-5F7E827C13F9}" srcOrd="0" destOrd="0" presId="urn:microsoft.com/office/officeart/2005/8/layout/default"/>
    <dgm:cxn modelId="{1372E6E5-05B3-4130-BAB3-E1C1CF5C342E}"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B1F9AE19-CD92-48E9-B550-CE5230D9FF5A}" type="presOf" srcId="{749654BA-097A-4093-B81D-F0D7C8F45CDF}" destId="{D38C2A64-A10E-4419-8CC2-7C9DBC741F60}"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F76F481-F614-4438-927A-387806E5328F}" type="presOf" srcId="{F5192B22-188D-4905-865D-FB0F06FA51E5}" destId="{F626D2C1-E362-4EE4-A84D-3ECF9A9E587C}" srcOrd="0" destOrd="0" presId="urn:microsoft.com/office/officeart/2005/8/layout/default"/>
    <dgm:cxn modelId="{6393977E-8D3A-4561-8A88-A6C860E835DD}" type="presParOf" srcId="{2AFE754E-A9BE-43F0-99CC-FD0E25860E09}" destId="{AD9EF522-A474-43A3-8895-E1B5C946DABC}" srcOrd="0" destOrd="0" presId="urn:microsoft.com/office/officeart/2005/8/layout/default"/>
    <dgm:cxn modelId="{2A9C9E60-E66F-4220-90FC-147A5FB8FBCB}" type="presParOf" srcId="{2AFE754E-A9BE-43F0-99CC-FD0E25860E09}" destId="{0337DDA8-12A4-4D35-A6BA-A52F916C71F9}" srcOrd="1" destOrd="0" presId="urn:microsoft.com/office/officeart/2005/8/layout/default"/>
    <dgm:cxn modelId="{0737DE3B-3FB9-4D76-82E7-2B6304C8C15B}" type="presParOf" srcId="{2AFE754E-A9BE-43F0-99CC-FD0E25860E09}" destId="{F626D2C1-E362-4EE4-A84D-3ECF9A9E587C}" srcOrd="2" destOrd="0" presId="urn:microsoft.com/office/officeart/2005/8/layout/default"/>
    <dgm:cxn modelId="{84063E1A-2855-48F6-9D44-ABD5C5D88E86}" type="presParOf" srcId="{2AFE754E-A9BE-43F0-99CC-FD0E25860E09}" destId="{B0E36A32-ED2F-4B07-A82C-07B5A09FFFAF}" srcOrd="3" destOrd="0" presId="urn:microsoft.com/office/officeart/2005/8/layout/default"/>
    <dgm:cxn modelId="{59A27274-F5E3-47F6-9B26-9B96F064AD1F}" type="presParOf" srcId="{2AFE754E-A9BE-43F0-99CC-FD0E25860E09}" destId="{D103E3C0-707E-4981-B759-BBF58D011072}" srcOrd="4" destOrd="0" presId="urn:microsoft.com/office/officeart/2005/8/layout/default"/>
    <dgm:cxn modelId="{8702BE88-5367-44AC-9F8B-15703AFA6B2E}" type="presParOf" srcId="{2AFE754E-A9BE-43F0-99CC-FD0E25860E09}" destId="{E5900466-67F8-46B4-B51F-DC4C80A488EE}" srcOrd="5" destOrd="0" presId="urn:microsoft.com/office/officeart/2005/8/layout/default"/>
    <dgm:cxn modelId="{4F6C4344-81C4-4CCE-88CF-AC7F52DA3EE8}" type="presParOf" srcId="{2AFE754E-A9BE-43F0-99CC-FD0E25860E09}" destId="{D38C2A64-A10E-4419-8CC2-7C9DBC741F60}" srcOrd="6" destOrd="0" presId="urn:microsoft.com/office/officeart/2005/8/layout/default"/>
    <dgm:cxn modelId="{DD40A717-13A6-4637-8DDE-7AD4F49DF43C}" type="presParOf" srcId="{2AFE754E-A9BE-43F0-99CC-FD0E25860E09}" destId="{27184C94-8BBD-4279-BF24-E340D2BB3CF4}" srcOrd="7" destOrd="0" presId="urn:microsoft.com/office/officeart/2005/8/layout/default"/>
    <dgm:cxn modelId="{EAD59E79-A7A5-4FB4-BBF0-777C38292963}" type="presParOf" srcId="{2AFE754E-A9BE-43F0-99CC-FD0E25860E09}" destId="{B3D60F83-A71F-4664-B2E0-FDAF1E1F667A}" srcOrd="8" destOrd="0" presId="urn:microsoft.com/office/officeart/2005/8/layout/default"/>
    <dgm:cxn modelId="{9DF86E85-F992-403F-B8BF-24887C6CA286}" type="presParOf" srcId="{2AFE754E-A9BE-43F0-99CC-FD0E25860E09}" destId="{7494D5FB-4DF4-427E-A02C-DF883CFADE6A}" srcOrd="9" destOrd="0" presId="urn:microsoft.com/office/officeart/2005/8/layout/default"/>
    <dgm:cxn modelId="{4C404DE8-DD45-4E8E-B34C-5BA66B3833F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D6A761B3-36FC-49A2-A4CD-1ED3127133D2}" type="presOf" srcId="{F2103179-96ED-4A7F-B05C-6921D6031C09}" destId="{B2BFB56C-67A7-452B-802F-5F7E827C13F9}" srcOrd="0" destOrd="0" presId="urn:microsoft.com/office/officeart/2005/8/layout/default"/>
    <dgm:cxn modelId="{953E0A86-3220-48EE-9019-5EEE8712B22C}" type="presOf" srcId="{F5192B22-188D-4905-865D-FB0F06FA51E5}" destId="{F626D2C1-E362-4EE4-A84D-3ECF9A9E587C}"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1A6A91CF-5B33-46A7-A1B6-448ABAA663AE}" type="presOf" srcId="{AF416352-CE85-458F-A403-D1461F23E8F6}" destId="{B3D60F83-A71F-4664-B2E0-FDAF1E1F667A}" srcOrd="0" destOrd="0" presId="urn:microsoft.com/office/officeart/2005/8/layout/default"/>
    <dgm:cxn modelId="{BB16569D-57DF-4C72-B30F-9630EC6D8F9B}"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4DBFB9E1-A8C4-471F-87A0-886A258964DC}" type="presOf" srcId="{B305BEE9-96E7-4D38-B9B2-E40B0F514BFD}" destId="{D103E3C0-707E-4981-B759-BBF58D011072}"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F059DFAD-3473-4686-92B5-8534745B486F}" srcId="{FAB1662F-7421-4F7B-A5C0-57390BFE5777}" destId="{74B70E5F-85FA-42B8-A7FE-FD42B697C579}" srcOrd="0" destOrd="0" parTransId="{606FCD52-B795-4D11-9A2E-065852207DB8}" sibTransId="{799BB488-3E9F-4420-817A-B2F52C536B57}"/>
    <dgm:cxn modelId="{37E8E2E4-37AD-4E30-910B-1235D344AB72}" type="presOf" srcId="{749654BA-097A-4093-B81D-F0D7C8F45CDF}" destId="{D38C2A64-A10E-4419-8CC2-7C9DBC741F60}"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DEBEF851-D535-4EAA-8A72-101DB569839D}" type="presOf" srcId="{74B70E5F-85FA-42B8-A7FE-FD42B697C579}" destId="{AD9EF522-A474-43A3-8895-E1B5C946DABC}" srcOrd="0" destOrd="0" presId="urn:microsoft.com/office/officeart/2005/8/layout/default"/>
    <dgm:cxn modelId="{4A9CF68D-5BC4-4D1E-80CB-B4077329A08E}" type="presParOf" srcId="{2AFE754E-A9BE-43F0-99CC-FD0E25860E09}" destId="{AD9EF522-A474-43A3-8895-E1B5C946DABC}" srcOrd="0" destOrd="0" presId="urn:microsoft.com/office/officeart/2005/8/layout/default"/>
    <dgm:cxn modelId="{4EBDAD81-D4DE-46EB-A610-3B67314948BA}" type="presParOf" srcId="{2AFE754E-A9BE-43F0-99CC-FD0E25860E09}" destId="{0337DDA8-12A4-4D35-A6BA-A52F916C71F9}" srcOrd="1" destOrd="0" presId="urn:microsoft.com/office/officeart/2005/8/layout/default"/>
    <dgm:cxn modelId="{50FB3BA6-0086-4A41-8AE4-40419FF74B11}" type="presParOf" srcId="{2AFE754E-A9BE-43F0-99CC-FD0E25860E09}" destId="{F626D2C1-E362-4EE4-A84D-3ECF9A9E587C}" srcOrd="2" destOrd="0" presId="urn:microsoft.com/office/officeart/2005/8/layout/default"/>
    <dgm:cxn modelId="{0ED84A90-5FF1-48EB-9794-63D1486A367D}" type="presParOf" srcId="{2AFE754E-A9BE-43F0-99CC-FD0E25860E09}" destId="{B0E36A32-ED2F-4B07-A82C-07B5A09FFFAF}" srcOrd="3" destOrd="0" presId="urn:microsoft.com/office/officeart/2005/8/layout/default"/>
    <dgm:cxn modelId="{A2B22FA4-1F2C-49A5-A50E-986FBA5E603E}" type="presParOf" srcId="{2AFE754E-A9BE-43F0-99CC-FD0E25860E09}" destId="{D103E3C0-707E-4981-B759-BBF58D011072}" srcOrd="4" destOrd="0" presId="urn:microsoft.com/office/officeart/2005/8/layout/default"/>
    <dgm:cxn modelId="{7ADCF2AD-8EB8-406E-A298-9EC3DF1EB388}" type="presParOf" srcId="{2AFE754E-A9BE-43F0-99CC-FD0E25860E09}" destId="{E5900466-67F8-46B4-B51F-DC4C80A488EE}" srcOrd="5" destOrd="0" presId="urn:microsoft.com/office/officeart/2005/8/layout/default"/>
    <dgm:cxn modelId="{CEE7A0C7-54EA-4446-8455-86F90FEBA751}" type="presParOf" srcId="{2AFE754E-A9BE-43F0-99CC-FD0E25860E09}" destId="{D38C2A64-A10E-4419-8CC2-7C9DBC741F60}" srcOrd="6" destOrd="0" presId="urn:microsoft.com/office/officeart/2005/8/layout/default"/>
    <dgm:cxn modelId="{39FA5A8C-FD23-4365-AD64-257634C390F0}" type="presParOf" srcId="{2AFE754E-A9BE-43F0-99CC-FD0E25860E09}" destId="{27184C94-8BBD-4279-BF24-E340D2BB3CF4}" srcOrd="7" destOrd="0" presId="urn:microsoft.com/office/officeart/2005/8/layout/default"/>
    <dgm:cxn modelId="{1AFD1F2F-E08D-474D-977F-6A0ED3B01314}" type="presParOf" srcId="{2AFE754E-A9BE-43F0-99CC-FD0E25860E09}" destId="{B3D60F83-A71F-4664-B2E0-FDAF1E1F667A}" srcOrd="8" destOrd="0" presId="urn:microsoft.com/office/officeart/2005/8/layout/default"/>
    <dgm:cxn modelId="{17AC697A-E429-45D6-B025-E03EAC1DB48B}" type="presParOf" srcId="{2AFE754E-A9BE-43F0-99CC-FD0E25860E09}" destId="{7494D5FB-4DF4-427E-A02C-DF883CFADE6A}" srcOrd="9" destOrd="0" presId="urn:microsoft.com/office/officeart/2005/8/layout/default"/>
    <dgm:cxn modelId="{CA092B5A-DD7A-4FCD-9E44-7E532FC7F1E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8C331A3E-2855-4B68-9C23-E5E9334EFE10}" type="presOf" srcId="{F2103179-96ED-4A7F-B05C-6921D6031C09}" destId="{B2BFB56C-67A7-452B-802F-5F7E827C13F9}" srcOrd="0" destOrd="0" presId="urn:microsoft.com/office/officeart/2005/8/layout/default"/>
    <dgm:cxn modelId="{50C30E63-459B-4EA6-85B0-42C75E1C0A95}" type="presOf" srcId="{F5192B22-188D-4905-865D-FB0F06FA51E5}" destId="{F626D2C1-E362-4EE4-A84D-3ECF9A9E587C}" srcOrd="0" destOrd="0" presId="urn:microsoft.com/office/officeart/2005/8/layout/default"/>
    <dgm:cxn modelId="{E2600280-3879-45ED-ABA4-30EA1E025738}" type="presOf" srcId="{74B70E5F-85FA-42B8-A7FE-FD42B697C579}" destId="{AD9EF522-A474-43A3-8895-E1B5C946DABC}" srcOrd="0" destOrd="0" presId="urn:microsoft.com/office/officeart/2005/8/layout/default"/>
    <dgm:cxn modelId="{E753277D-78FC-4F19-B1C2-85D5C28B56BC}"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EA0C1AF-6C2F-44DF-81AD-B326200377C4}"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6C72D547-C3EC-4F55-9831-B3F94A82AC12}" type="presOf" srcId="{B305BEE9-96E7-4D38-B9B2-E40B0F514BFD}" destId="{D103E3C0-707E-4981-B759-BBF58D011072}" srcOrd="0" destOrd="0" presId="urn:microsoft.com/office/officeart/2005/8/layout/default"/>
    <dgm:cxn modelId="{8BB1CE7C-24A9-45E4-8E4D-8D21C6A85E51}"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231DFC54-4876-4814-8CF1-AE86F031D007}" type="presParOf" srcId="{2AFE754E-A9BE-43F0-99CC-FD0E25860E09}" destId="{AD9EF522-A474-43A3-8895-E1B5C946DABC}" srcOrd="0" destOrd="0" presId="urn:microsoft.com/office/officeart/2005/8/layout/default"/>
    <dgm:cxn modelId="{6C817991-526A-41A0-B73E-AA08A35B57A3}" type="presParOf" srcId="{2AFE754E-A9BE-43F0-99CC-FD0E25860E09}" destId="{0337DDA8-12A4-4D35-A6BA-A52F916C71F9}" srcOrd="1" destOrd="0" presId="urn:microsoft.com/office/officeart/2005/8/layout/default"/>
    <dgm:cxn modelId="{8693A42A-3BF3-41F4-8B1A-228294A274A0}" type="presParOf" srcId="{2AFE754E-A9BE-43F0-99CC-FD0E25860E09}" destId="{F626D2C1-E362-4EE4-A84D-3ECF9A9E587C}" srcOrd="2" destOrd="0" presId="urn:microsoft.com/office/officeart/2005/8/layout/default"/>
    <dgm:cxn modelId="{97FD03BB-40A3-4F95-B20B-C396F2F393F3}" type="presParOf" srcId="{2AFE754E-A9BE-43F0-99CC-FD0E25860E09}" destId="{B0E36A32-ED2F-4B07-A82C-07B5A09FFFAF}" srcOrd="3" destOrd="0" presId="urn:microsoft.com/office/officeart/2005/8/layout/default"/>
    <dgm:cxn modelId="{F622AB5F-A6EF-43F0-B0A4-9826B199DE11}" type="presParOf" srcId="{2AFE754E-A9BE-43F0-99CC-FD0E25860E09}" destId="{D103E3C0-707E-4981-B759-BBF58D011072}" srcOrd="4" destOrd="0" presId="urn:microsoft.com/office/officeart/2005/8/layout/default"/>
    <dgm:cxn modelId="{3AA10A46-A99A-4AB4-9460-0D2D732540CB}" type="presParOf" srcId="{2AFE754E-A9BE-43F0-99CC-FD0E25860E09}" destId="{E5900466-67F8-46B4-B51F-DC4C80A488EE}" srcOrd="5" destOrd="0" presId="urn:microsoft.com/office/officeart/2005/8/layout/default"/>
    <dgm:cxn modelId="{2EA7472A-F282-46DA-BF7F-8B70B273D731}" type="presParOf" srcId="{2AFE754E-A9BE-43F0-99CC-FD0E25860E09}" destId="{D38C2A64-A10E-4419-8CC2-7C9DBC741F60}" srcOrd="6" destOrd="0" presId="urn:microsoft.com/office/officeart/2005/8/layout/default"/>
    <dgm:cxn modelId="{B09D0DFC-1C43-48B9-8094-36901A190ED9}" type="presParOf" srcId="{2AFE754E-A9BE-43F0-99CC-FD0E25860E09}" destId="{27184C94-8BBD-4279-BF24-E340D2BB3CF4}" srcOrd="7" destOrd="0" presId="urn:microsoft.com/office/officeart/2005/8/layout/default"/>
    <dgm:cxn modelId="{14D8C9E9-1F45-4EB4-8F04-5F39CB8FB98A}" type="presParOf" srcId="{2AFE754E-A9BE-43F0-99CC-FD0E25860E09}" destId="{B3D60F83-A71F-4664-B2E0-FDAF1E1F667A}" srcOrd="8" destOrd="0" presId="urn:microsoft.com/office/officeart/2005/8/layout/default"/>
    <dgm:cxn modelId="{184166AD-FD09-469C-A9C4-FC0BF10E2AA2}" type="presParOf" srcId="{2AFE754E-A9BE-43F0-99CC-FD0E25860E09}" destId="{7494D5FB-4DF4-427E-A02C-DF883CFADE6A}" srcOrd="9" destOrd="0" presId="urn:microsoft.com/office/officeart/2005/8/layout/default"/>
    <dgm:cxn modelId="{288CC0C1-DDC4-4675-89B1-F43D614B9D30}"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DB93BD1-474B-4E5D-A828-47643DC39C97}" type="presOf" srcId="{F5192B22-188D-4905-865D-FB0F06FA51E5}" destId="{F626D2C1-E362-4EE4-A84D-3ECF9A9E587C}" srcOrd="0" destOrd="0" presId="urn:microsoft.com/office/officeart/2005/8/layout/default"/>
    <dgm:cxn modelId="{27E8434F-1C78-4F5D-B098-6306C8F5CEBF}" type="presOf" srcId="{74B70E5F-85FA-42B8-A7FE-FD42B697C579}" destId="{AD9EF522-A474-43A3-8895-E1B5C946DABC}" srcOrd="0" destOrd="0" presId="urn:microsoft.com/office/officeart/2005/8/layout/default"/>
    <dgm:cxn modelId="{90CFE519-2792-461A-94A6-23DAAED2E2B3}" type="presOf" srcId="{AF416352-CE85-458F-A403-D1461F23E8F6}" destId="{B3D60F83-A71F-4664-B2E0-FDAF1E1F667A}" srcOrd="0" destOrd="0" presId="urn:microsoft.com/office/officeart/2005/8/layout/default"/>
    <dgm:cxn modelId="{AFC29FCC-2C7D-4D7C-AD01-38D13F0511F5}"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752F71E0-AF0A-4DC0-A0CC-AEB501BACF28}"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8FF36685-6046-4F9D-8E79-356C3CF5BB23}" type="presOf" srcId="{B305BEE9-96E7-4D38-B9B2-E40B0F514BFD}" destId="{D103E3C0-707E-4981-B759-BBF58D011072}"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D01EB9B4-C898-47BD-81F4-F25FBBEDA5BF}"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5E333AEC-73ED-4561-BF0C-A1BC6C235E14}" type="presParOf" srcId="{2AFE754E-A9BE-43F0-99CC-FD0E25860E09}" destId="{AD9EF522-A474-43A3-8895-E1B5C946DABC}" srcOrd="0" destOrd="0" presId="urn:microsoft.com/office/officeart/2005/8/layout/default"/>
    <dgm:cxn modelId="{E3F0075D-820A-4115-B3E1-0C5FE8C22725}" type="presParOf" srcId="{2AFE754E-A9BE-43F0-99CC-FD0E25860E09}" destId="{0337DDA8-12A4-4D35-A6BA-A52F916C71F9}" srcOrd="1" destOrd="0" presId="urn:microsoft.com/office/officeart/2005/8/layout/default"/>
    <dgm:cxn modelId="{48D22D21-D178-4FC7-B080-AEDDC897DB52}" type="presParOf" srcId="{2AFE754E-A9BE-43F0-99CC-FD0E25860E09}" destId="{F626D2C1-E362-4EE4-A84D-3ECF9A9E587C}" srcOrd="2" destOrd="0" presId="urn:microsoft.com/office/officeart/2005/8/layout/default"/>
    <dgm:cxn modelId="{9EB8D6C9-635C-4566-952C-32157553F023}" type="presParOf" srcId="{2AFE754E-A9BE-43F0-99CC-FD0E25860E09}" destId="{B0E36A32-ED2F-4B07-A82C-07B5A09FFFAF}" srcOrd="3" destOrd="0" presId="urn:microsoft.com/office/officeart/2005/8/layout/default"/>
    <dgm:cxn modelId="{8A2DB7C1-DAB3-457D-9152-75B3A5ADB504}" type="presParOf" srcId="{2AFE754E-A9BE-43F0-99CC-FD0E25860E09}" destId="{D103E3C0-707E-4981-B759-BBF58D011072}" srcOrd="4" destOrd="0" presId="urn:microsoft.com/office/officeart/2005/8/layout/default"/>
    <dgm:cxn modelId="{4BB48D76-2489-4C1E-837A-D94340D3C10F}" type="presParOf" srcId="{2AFE754E-A9BE-43F0-99CC-FD0E25860E09}" destId="{E5900466-67F8-46B4-B51F-DC4C80A488EE}" srcOrd="5" destOrd="0" presId="urn:microsoft.com/office/officeart/2005/8/layout/default"/>
    <dgm:cxn modelId="{44BD46E9-948B-49CE-A4B6-C0360F4E7490}" type="presParOf" srcId="{2AFE754E-A9BE-43F0-99CC-FD0E25860E09}" destId="{D38C2A64-A10E-4419-8CC2-7C9DBC741F60}" srcOrd="6" destOrd="0" presId="urn:microsoft.com/office/officeart/2005/8/layout/default"/>
    <dgm:cxn modelId="{D8F49BAA-21B4-4510-939D-575E1846F449}" type="presParOf" srcId="{2AFE754E-A9BE-43F0-99CC-FD0E25860E09}" destId="{27184C94-8BBD-4279-BF24-E340D2BB3CF4}" srcOrd="7" destOrd="0" presId="urn:microsoft.com/office/officeart/2005/8/layout/default"/>
    <dgm:cxn modelId="{DCB5FF40-95C1-48F7-A940-4A105042C97E}" type="presParOf" srcId="{2AFE754E-A9BE-43F0-99CC-FD0E25860E09}" destId="{B3D60F83-A71F-4664-B2E0-FDAF1E1F667A}" srcOrd="8" destOrd="0" presId="urn:microsoft.com/office/officeart/2005/8/layout/default"/>
    <dgm:cxn modelId="{381DC1AF-2BB1-4AC3-A65A-D3CEFDE77526}" type="presParOf" srcId="{2AFE754E-A9BE-43F0-99CC-FD0E25860E09}" destId="{7494D5FB-4DF4-427E-A02C-DF883CFADE6A}" srcOrd="9" destOrd="0" presId="urn:microsoft.com/office/officeart/2005/8/layout/default"/>
    <dgm:cxn modelId="{9D614548-4591-4135-A18E-E686B917B558}"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4E991D7F-C208-44CB-A89D-71B8BF43D27E}" srcId="{ABA94078-415A-4746-B338-0DE50D167765}" destId="{8CBB3486-52BF-4907-8153-2A1B2E134F5B}" srcOrd="7" destOrd="0" parTransId="{26F7B99C-1AD0-4486-9FC0-7CF98660714F}" sibTransId="{0DD56E67-F24E-498D-9F50-9C9D14A9EEE6}"/>
    <dgm:cxn modelId="{CCECB599-5028-49B2-A26D-4E6D767F7387}" type="presOf" srcId="{3CD06B66-BA5C-4EA6-8FF2-A1B777D50664}" destId="{A9247332-A9E0-456A-B25B-BA966FF61ABC}" srcOrd="0" destOrd="0" presId="urn:microsoft.com/office/officeart/2008/layout/HorizontalMultiLevelHierarchy"/>
    <dgm:cxn modelId="{5B771E0B-E257-42D8-B3B3-1C7E0FB7A406}" type="presOf" srcId="{D5AC4FD8-070C-4865-A66C-53A32AC68386}" destId="{B3F4A5DC-ADFF-4B68-A0FA-B92D72BCD3F7}" srcOrd="1" destOrd="0" presId="urn:microsoft.com/office/officeart/2008/layout/HorizontalMultiLevelHierarchy"/>
    <dgm:cxn modelId="{ADEB915E-3F3E-48C0-85C2-F5D35002BF79}" type="presOf" srcId="{EDBCEC8A-07C4-4A69-9C95-ACF10DED2E8E}" destId="{63C62DD7-9330-4621-8BB0-F09194295312}" srcOrd="0" destOrd="0" presId="urn:microsoft.com/office/officeart/2008/layout/HorizontalMultiLevelHierarchy"/>
    <dgm:cxn modelId="{B34FDD97-CA0B-4F76-8D84-0DDEB4A37231}" type="presOf" srcId="{F369B857-7C93-4782-9857-C71A8DBF465F}" destId="{04A3AD10-C959-4585-96CD-5B42E57AE5C4}" srcOrd="1" destOrd="0" presId="urn:microsoft.com/office/officeart/2008/layout/HorizontalMultiLevelHierarchy"/>
    <dgm:cxn modelId="{C97032A1-3198-417E-A2F3-3B820195E072}" type="presOf" srcId="{715934F9-890D-41BE-B325-3E5C2B43E221}" destId="{A2BDEAEE-BEAE-4102-9FF7-721372ED5EB7}" srcOrd="0" destOrd="0" presId="urn:microsoft.com/office/officeart/2008/layout/HorizontalMultiLevelHierarchy"/>
    <dgm:cxn modelId="{2C0C75FE-76B0-4AC9-8BF5-E6A4B1495F21}" type="presOf" srcId="{BB8F218F-42AD-4F88-A393-F33F14A0E76A}" destId="{3D33A6BA-2A8C-4AB7-8F77-F8CEC5CE7521}" srcOrd="0" destOrd="0" presId="urn:microsoft.com/office/officeart/2008/layout/HorizontalMultiLevelHierarchy"/>
    <dgm:cxn modelId="{C21E6FF9-7BBC-465C-AD48-75CF0BDFDA3F}" type="presOf" srcId="{3CD06B66-BA5C-4EA6-8FF2-A1B777D50664}" destId="{A34C8659-DAF5-48FA-80A3-3ACDC80B0CE0}"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35C36E3D-4168-4C5F-AFFA-7C5C7777163E}" srcId="{ABA94078-415A-4746-B338-0DE50D167765}" destId="{4777E599-580D-4111-9967-E9007FBD732E}" srcOrd="0" destOrd="0" parTransId="{D5AC4FD8-070C-4865-A66C-53A32AC68386}" sibTransId="{2B1D1E92-CFBD-4587-B062-82927EF8FF3B}"/>
    <dgm:cxn modelId="{9AB7AA22-BEEB-44C5-9147-8C5DC28BB3AE}" type="presOf" srcId="{CE55EEAD-D80F-4342-ABCC-8EE2623D8AA4}" destId="{C86D6C40-E242-48BA-85AE-9D4EDA0C49A2}" srcOrd="0" destOrd="0" presId="urn:microsoft.com/office/officeart/2008/layout/HorizontalMultiLevelHierarchy"/>
    <dgm:cxn modelId="{7581AABF-06FB-4B57-8EFB-802A13568ECA}" type="presOf" srcId="{715934F9-890D-41BE-B325-3E5C2B43E221}" destId="{E59D232A-FAEE-4874-A48F-948E79E23089}" srcOrd="1" destOrd="0" presId="urn:microsoft.com/office/officeart/2008/layout/HorizontalMultiLevelHierarchy"/>
    <dgm:cxn modelId="{1F6FE4ED-131C-4809-8F21-91A9109F85A1}" type="presOf" srcId="{ABA94078-415A-4746-B338-0DE50D167765}" destId="{58CCF708-F1AC-4488-8F63-38C6CF29B93E}" srcOrd="0" destOrd="0" presId="urn:microsoft.com/office/officeart/2008/layout/HorizontalMultiLevelHierarchy"/>
    <dgm:cxn modelId="{20AF1C83-503F-4BBF-9686-671B14F80E5E}" type="presOf" srcId="{C42F4B52-7002-4ABA-88BE-54A1C096A2E2}" destId="{E4A827AE-75C5-4549-BE7E-8C6BF6FACCED}" srcOrd="0" destOrd="0" presId="urn:microsoft.com/office/officeart/2008/layout/HorizontalMultiLevelHierarchy"/>
    <dgm:cxn modelId="{A1A3B994-468D-4AD7-8B8F-2FC93B54A89E}" type="presOf" srcId="{26F7B99C-1AD0-4486-9FC0-7CF98660714F}" destId="{DCF41397-3EB2-44E1-A698-28C9F69ED030}" srcOrd="0" destOrd="0" presId="urn:microsoft.com/office/officeart/2008/layout/HorizontalMultiLevelHierarchy"/>
    <dgm:cxn modelId="{0A87BB8F-BA57-4B4B-8C4D-F2811F2FF495}" type="presOf" srcId="{8C9858A0-C712-49EF-BA26-493A5EB0C8D9}" destId="{C68CF0C5-08A1-46A7-82FC-12B93E1B1A37}" srcOrd="0" destOrd="0" presId="urn:microsoft.com/office/officeart/2008/layout/HorizontalMultiLevelHierarchy"/>
    <dgm:cxn modelId="{2D4C9E04-5E1E-4D18-8388-B49F4804CC53}" type="presOf" srcId="{AABE75CE-36EB-4BBB-B949-FBE6E5CEB4D6}" destId="{C26C1291-A6B9-46F5-B467-8E1BC9C36FE1}" srcOrd="0" destOrd="0" presId="urn:microsoft.com/office/officeart/2008/layout/HorizontalMultiLevelHierarchy"/>
    <dgm:cxn modelId="{72DB67BE-F601-4B6E-950F-2B8054D989CD}" type="presOf" srcId="{0190E47B-A294-476A-A8CC-EBBE06E5F3C5}" destId="{1609F1F0-B9EC-49C3-B483-830431371036}" srcOrd="0"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DC3FCBC4-F7E1-4928-94C6-D10CD7A54306}" srcId="{ABA94078-415A-4746-B338-0DE50D167765}" destId="{AABE75CE-36EB-4BBB-B949-FBE6E5CEB4D6}" srcOrd="2" destOrd="0" parTransId="{C0AEAA98-59CB-4FF1-B513-224B0F1EDFD6}" sibTransId="{871C90BB-3B2B-479C-8984-444F21ACC902}"/>
    <dgm:cxn modelId="{C90752FC-171B-4239-87CB-1BD9A31BB721}" type="presOf" srcId="{F369B857-7C93-4782-9857-C71A8DBF465F}" destId="{3F04F3A2-BE4E-4F6C-8748-911F9BAA3D3A}" srcOrd="0" destOrd="0" presId="urn:microsoft.com/office/officeart/2008/layout/HorizontalMultiLevelHierarchy"/>
    <dgm:cxn modelId="{71ECEA45-8F4F-44D9-B38C-AF8FC05B2260}" type="presOf" srcId="{4777E599-580D-4111-9967-E9007FBD732E}" destId="{91AC151A-A48B-4C49-B50D-6CDF08005D53}"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2B5E6B8D-AACA-402F-B08A-D3A81ADBD74A}" type="presOf" srcId="{CE55EEAD-D80F-4342-ABCC-8EE2623D8AA4}" destId="{E3A5D1DC-3AA2-4C0F-B17E-242A14CE939F}" srcOrd="1" destOrd="0" presId="urn:microsoft.com/office/officeart/2008/layout/HorizontalMultiLevelHierarchy"/>
    <dgm:cxn modelId="{1975271A-932E-45AC-8EE4-49D56C6A0A31}" type="presOf" srcId="{D5AC4FD8-070C-4865-A66C-53A32AC68386}" destId="{0C220F30-9CF8-4DB8-86E7-CDF471D20870}" srcOrd="0" destOrd="0" presId="urn:microsoft.com/office/officeart/2008/layout/HorizontalMultiLevelHierarchy"/>
    <dgm:cxn modelId="{B1C9CE27-E40D-4128-9FAB-FA6C0248B41B}" type="presOf" srcId="{26F7B99C-1AD0-4486-9FC0-7CF98660714F}" destId="{F62E8F84-B509-4E6E-8CC2-9F59659762C8}" srcOrd="1" destOrd="0" presId="urn:microsoft.com/office/officeart/2008/layout/HorizontalMultiLevelHierarchy"/>
    <dgm:cxn modelId="{E8367AE8-F751-46EF-98CD-C393B72F5240}" srcId="{ABA94078-415A-4746-B338-0DE50D167765}" destId="{B2EFCD2E-75B4-4849-AA96-F6A28228A999}" srcOrd="1" destOrd="0" parTransId="{F369B857-7C93-4782-9857-C71A8DBF465F}" sibTransId="{A5C1D5B8-8EE8-4687-AFB4-F340748F050E}"/>
    <dgm:cxn modelId="{22EC9AAB-EBF1-4FE2-8255-A03B7856AE5D}" type="presOf" srcId="{C42F4B52-7002-4ABA-88BE-54A1C096A2E2}" destId="{8FD558C2-E0EC-4A69-926C-7AEE0D7FEC8E}" srcOrd="1" destOrd="0" presId="urn:microsoft.com/office/officeart/2008/layout/HorizontalMultiLevelHierarchy"/>
    <dgm:cxn modelId="{7933C345-2AC9-438F-B0AC-98CE1A68E8F2}" type="presOf" srcId="{C0AEAA98-59CB-4FF1-B513-224B0F1EDFD6}" destId="{9CB0EBD4-F9FE-4633-8D69-E755B482C1D2}" srcOrd="0" destOrd="0" presId="urn:microsoft.com/office/officeart/2008/layout/HorizontalMultiLevelHierarchy"/>
    <dgm:cxn modelId="{20C5371B-00FD-4D65-9131-54737C37C0AE}" srcId="{ABA94078-415A-4746-B338-0DE50D167765}" destId="{AE032B68-7AA2-40F7-869C-7D0B9FBF933B}" srcOrd="3" destOrd="0" parTransId="{715934F9-890D-41BE-B325-3E5C2B43E221}" sibTransId="{60B3B9BD-C550-4B07-9718-52A6AA082D8B}"/>
    <dgm:cxn modelId="{CCE4BC87-3289-49A0-8AB8-012F5D2CC40C}" type="presOf" srcId="{AE032B68-7AA2-40F7-869C-7D0B9FBF933B}" destId="{950BD2B7-2008-49F5-8A84-B2CEB7AAA1F9}" srcOrd="0" destOrd="0" presId="urn:microsoft.com/office/officeart/2008/layout/HorizontalMultiLevelHierarchy"/>
    <dgm:cxn modelId="{B21D8D10-1E18-48D0-A18D-83920401B847}" type="presOf" srcId="{8CBB3486-52BF-4907-8153-2A1B2E134F5B}" destId="{9362DE1B-4960-47B7-A274-76FB4501C92C}"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D9AA2613-0672-417E-AC4A-DFE43BF6622E}" type="presOf" srcId="{B2EFCD2E-75B4-4849-AA96-F6A28228A999}" destId="{A806163D-05F3-4079-BC0E-7B60B3BA071C}" srcOrd="0" destOrd="0" presId="urn:microsoft.com/office/officeart/2008/layout/HorizontalMultiLevelHierarchy"/>
    <dgm:cxn modelId="{4BDD965C-1DE4-47A3-9BFF-F91B2816A4A1}" type="presOf" srcId="{C0AEAA98-59CB-4FF1-B513-224B0F1EDFD6}" destId="{861FBDDD-4240-4D1D-844B-597CBA57B2CC}" srcOrd="1" destOrd="0" presId="urn:microsoft.com/office/officeart/2008/layout/HorizontalMultiLevelHierarchy"/>
    <dgm:cxn modelId="{98BD14C8-46D2-44F4-A8C0-B715DC0B869F}" type="presParOf" srcId="{63C62DD7-9330-4621-8BB0-F09194295312}" destId="{D283DCFB-8010-47B3-A09B-8CFCF3F60C79}" srcOrd="0" destOrd="0" presId="urn:microsoft.com/office/officeart/2008/layout/HorizontalMultiLevelHierarchy"/>
    <dgm:cxn modelId="{93439E6A-E1DB-4B38-B4FB-AB519D7F20D6}" type="presParOf" srcId="{D283DCFB-8010-47B3-A09B-8CFCF3F60C79}" destId="{58CCF708-F1AC-4488-8F63-38C6CF29B93E}" srcOrd="0" destOrd="0" presId="urn:microsoft.com/office/officeart/2008/layout/HorizontalMultiLevelHierarchy"/>
    <dgm:cxn modelId="{467C2272-60F5-4B94-83AE-9EFF906B4F63}" type="presParOf" srcId="{D283DCFB-8010-47B3-A09B-8CFCF3F60C79}" destId="{B2FE81D5-E6DA-419B-9147-3A4D44EE742E}" srcOrd="1" destOrd="0" presId="urn:microsoft.com/office/officeart/2008/layout/HorizontalMultiLevelHierarchy"/>
    <dgm:cxn modelId="{AE3D59E0-BCBF-4A42-8AA3-1468C1D9E7E5}" type="presParOf" srcId="{B2FE81D5-E6DA-419B-9147-3A4D44EE742E}" destId="{0C220F30-9CF8-4DB8-86E7-CDF471D20870}" srcOrd="0" destOrd="0" presId="urn:microsoft.com/office/officeart/2008/layout/HorizontalMultiLevelHierarchy"/>
    <dgm:cxn modelId="{B98407C3-7AF7-4DC3-B8AD-CE955B7A15C2}" type="presParOf" srcId="{0C220F30-9CF8-4DB8-86E7-CDF471D20870}" destId="{B3F4A5DC-ADFF-4B68-A0FA-B92D72BCD3F7}" srcOrd="0" destOrd="0" presId="urn:microsoft.com/office/officeart/2008/layout/HorizontalMultiLevelHierarchy"/>
    <dgm:cxn modelId="{072AAA25-520F-42D6-831F-277558A9F588}" type="presParOf" srcId="{B2FE81D5-E6DA-419B-9147-3A4D44EE742E}" destId="{CDB19A18-4A52-439F-80D8-7B0E006C1B26}" srcOrd="1" destOrd="0" presId="urn:microsoft.com/office/officeart/2008/layout/HorizontalMultiLevelHierarchy"/>
    <dgm:cxn modelId="{840CB71A-0BA8-43D6-A8CC-68DF404C4C4E}" type="presParOf" srcId="{CDB19A18-4A52-439F-80D8-7B0E006C1B26}" destId="{91AC151A-A48B-4C49-B50D-6CDF08005D53}" srcOrd="0" destOrd="0" presId="urn:microsoft.com/office/officeart/2008/layout/HorizontalMultiLevelHierarchy"/>
    <dgm:cxn modelId="{A54B6EBC-9E05-4824-AF37-163CA9DD75E5}" type="presParOf" srcId="{CDB19A18-4A52-439F-80D8-7B0E006C1B26}" destId="{2BDA39B9-AA6E-4BF0-A1B3-65A80998F018}" srcOrd="1" destOrd="0" presId="urn:microsoft.com/office/officeart/2008/layout/HorizontalMultiLevelHierarchy"/>
    <dgm:cxn modelId="{3A8FE9E8-32DF-4838-9FB6-299937AA0820}" type="presParOf" srcId="{B2FE81D5-E6DA-419B-9147-3A4D44EE742E}" destId="{3F04F3A2-BE4E-4F6C-8748-911F9BAA3D3A}" srcOrd="2" destOrd="0" presId="urn:microsoft.com/office/officeart/2008/layout/HorizontalMultiLevelHierarchy"/>
    <dgm:cxn modelId="{88616938-579C-4BCE-A5FF-55D88F11DA0E}" type="presParOf" srcId="{3F04F3A2-BE4E-4F6C-8748-911F9BAA3D3A}" destId="{04A3AD10-C959-4585-96CD-5B42E57AE5C4}" srcOrd="0" destOrd="0" presId="urn:microsoft.com/office/officeart/2008/layout/HorizontalMultiLevelHierarchy"/>
    <dgm:cxn modelId="{DE1D2FB4-2C22-43DF-A74B-F6E340392262}" type="presParOf" srcId="{B2FE81D5-E6DA-419B-9147-3A4D44EE742E}" destId="{3D494372-7F4B-4344-859A-687CDB017A0D}" srcOrd="3" destOrd="0" presId="urn:microsoft.com/office/officeart/2008/layout/HorizontalMultiLevelHierarchy"/>
    <dgm:cxn modelId="{204C9E0B-ECAC-4E62-8D26-EEFC46986A30}" type="presParOf" srcId="{3D494372-7F4B-4344-859A-687CDB017A0D}" destId="{A806163D-05F3-4079-BC0E-7B60B3BA071C}" srcOrd="0" destOrd="0" presId="urn:microsoft.com/office/officeart/2008/layout/HorizontalMultiLevelHierarchy"/>
    <dgm:cxn modelId="{5B3BE3B7-72D7-4C65-9E2A-AEC66505229E}" type="presParOf" srcId="{3D494372-7F4B-4344-859A-687CDB017A0D}" destId="{00CC5C5F-91E0-4679-812B-74BB4885E03F}" srcOrd="1" destOrd="0" presId="urn:microsoft.com/office/officeart/2008/layout/HorizontalMultiLevelHierarchy"/>
    <dgm:cxn modelId="{09742CC0-4220-461C-A4A1-89E290389E80}" type="presParOf" srcId="{B2FE81D5-E6DA-419B-9147-3A4D44EE742E}" destId="{9CB0EBD4-F9FE-4633-8D69-E755B482C1D2}" srcOrd="4" destOrd="0" presId="urn:microsoft.com/office/officeart/2008/layout/HorizontalMultiLevelHierarchy"/>
    <dgm:cxn modelId="{14671AE4-3B87-44D6-B1AB-BBE9890ABB23}" type="presParOf" srcId="{9CB0EBD4-F9FE-4633-8D69-E755B482C1D2}" destId="{861FBDDD-4240-4D1D-844B-597CBA57B2CC}" srcOrd="0" destOrd="0" presId="urn:microsoft.com/office/officeart/2008/layout/HorizontalMultiLevelHierarchy"/>
    <dgm:cxn modelId="{D630AD2C-7AD6-4812-A132-A6268307BF1A}" type="presParOf" srcId="{B2FE81D5-E6DA-419B-9147-3A4D44EE742E}" destId="{67D9B38F-77D5-493A-B3B1-374DA7EBBD65}" srcOrd="5" destOrd="0" presId="urn:microsoft.com/office/officeart/2008/layout/HorizontalMultiLevelHierarchy"/>
    <dgm:cxn modelId="{8BBAA9E3-175D-410C-A264-140DB32EC547}" type="presParOf" srcId="{67D9B38F-77D5-493A-B3B1-374DA7EBBD65}" destId="{C26C1291-A6B9-46F5-B467-8E1BC9C36FE1}" srcOrd="0" destOrd="0" presId="urn:microsoft.com/office/officeart/2008/layout/HorizontalMultiLevelHierarchy"/>
    <dgm:cxn modelId="{0718D763-EB9E-493F-BC46-CE6AD311255A}" type="presParOf" srcId="{67D9B38F-77D5-493A-B3B1-374DA7EBBD65}" destId="{5DFE32DD-25FF-4582-9C41-E553B8F99B4F}" srcOrd="1" destOrd="0" presId="urn:microsoft.com/office/officeart/2008/layout/HorizontalMultiLevelHierarchy"/>
    <dgm:cxn modelId="{B61615CF-0527-4E24-BF79-95C3E386C8E3}" type="presParOf" srcId="{B2FE81D5-E6DA-419B-9147-3A4D44EE742E}" destId="{A2BDEAEE-BEAE-4102-9FF7-721372ED5EB7}" srcOrd="6" destOrd="0" presId="urn:microsoft.com/office/officeart/2008/layout/HorizontalMultiLevelHierarchy"/>
    <dgm:cxn modelId="{13703431-DB21-4085-B7DF-535DD55A4CFF}" type="presParOf" srcId="{A2BDEAEE-BEAE-4102-9FF7-721372ED5EB7}" destId="{E59D232A-FAEE-4874-A48F-948E79E23089}" srcOrd="0" destOrd="0" presId="urn:microsoft.com/office/officeart/2008/layout/HorizontalMultiLevelHierarchy"/>
    <dgm:cxn modelId="{AF5E1C20-9E2E-4862-A9CC-083A2DA9EC55}" type="presParOf" srcId="{B2FE81D5-E6DA-419B-9147-3A4D44EE742E}" destId="{F951C6EA-FD05-466F-BBDD-4EF4BB43D309}" srcOrd="7" destOrd="0" presId="urn:microsoft.com/office/officeart/2008/layout/HorizontalMultiLevelHierarchy"/>
    <dgm:cxn modelId="{83BAF490-45B9-4D92-912C-35EC87B59FF0}" type="presParOf" srcId="{F951C6EA-FD05-466F-BBDD-4EF4BB43D309}" destId="{950BD2B7-2008-49F5-8A84-B2CEB7AAA1F9}" srcOrd="0" destOrd="0" presId="urn:microsoft.com/office/officeart/2008/layout/HorizontalMultiLevelHierarchy"/>
    <dgm:cxn modelId="{C2C2B538-07A4-4D50-912B-99AAAFA02C13}" type="presParOf" srcId="{F951C6EA-FD05-466F-BBDD-4EF4BB43D309}" destId="{BE4261B6-DA4D-45AB-B8CE-74C353553C42}" srcOrd="1" destOrd="0" presId="urn:microsoft.com/office/officeart/2008/layout/HorizontalMultiLevelHierarchy"/>
    <dgm:cxn modelId="{28BFB6A3-6D91-47DE-AD4E-03EFA2CC5EE9}" type="presParOf" srcId="{B2FE81D5-E6DA-419B-9147-3A4D44EE742E}" destId="{C86D6C40-E242-48BA-85AE-9D4EDA0C49A2}" srcOrd="8" destOrd="0" presId="urn:microsoft.com/office/officeart/2008/layout/HorizontalMultiLevelHierarchy"/>
    <dgm:cxn modelId="{BDC8277F-AC33-4056-B278-6D38B128773C}" type="presParOf" srcId="{C86D6C40-E242-48BA-85AE-9D4EDA0C49A2}" destId="{E3A5D1DC-3AA2-4C0F-B17E-242A14CE939F}" srcOrd="0" destOrd="0" presId="urn:microsoft.com/office/officeart/2008/layout/HorizontalMultiLevelHierarchy"/>
    <dgm:cxn modelId="{C39BD9BD-B79D-4CC3-9D9E-1E5DB5EFB1BB}" type="presParOf" srcId="{B2FE81D5-E6DA-419B-9147-3A4D44EE742E}" destId="{9FFE7B7A-3FE4-423E-8B9A-EB7AA6594E98}" srcOrd="9" destOrd="0" presId="urn:microsoft.com/office/officeart/2008/layout/HorizontalMultiLevelHierarchy"/>
    <dgm:cxn modelId="{E77BE907-82AC-4C3F-ACA6-F3A135214CA6}" type="presParOf" srcId="{9FFE7B7A-3FE4-423E-8B9A-EB7AA6594E98}" destId="{3D33A6BA-2A8C-4AB7-8F77-F8CEC5CE7521}" srcOrd="0" destOrd="0" presId="urn:microsoft.com/office/officeart/2008/layout/HorizontalMultiLevelHierarchy"/>
    <dgm:cxn modelId="{C0890697-4FD0-44D1-AF1D-FD5EB23270FB}" type="presParOf" srcId="{9FFE7B7A-3FE4-423E-8B9A-EB7AA6594E98}" destId="{8DAFF084-82DE-45C6-B505-1BB3C2721671}" srcOrd="1" destOrd="0" presId="urn:microsoft.com/office/officeart/2008/layout/HorizontalMultiLevelHierarchy"/>
    <dgm:cxn modelId="{08B50639-AE9D-459D-929D-F3BCD81A0482}" type="presParOf" srcId="{B2FE81D5-E6DA-419B-9147-3A4D44EE742E}" destId="{A9247332-A9E0-456A-B25B-BA966FF61ABC}" srcOrd="10" destOrd="0" presId="urn:microsoft.com/office/officeart/2008/layout/HorizontalMultiLevelHierarchy"/>
    <dgm:cxn modelId="{1D4BA5FF-0304-4C75-9BFA-B1827702F731}" type="presParOf" srcId="{A9247332-A9E0-456A-B25B-BA966FF61ABC}" destId="{A34C8659-DAF5-48FA-80A3-3ACDC80B0CE0}" srcOrd="0" destOrd="0" presId="urn:microsoft.com/office/officeart/2008/layout/HorizontalMultiLevelHierarchy"/>
    <dgm:cxn modelId="{18EB2D33-DE80-4966-9C81-1186F2CFC92C}" type="presParOf" srcId="{B2FE81D5-E6DA-419B-9147-3A4D44EE742E}" destId="{459AC21B-1C98-42D7-A4A8-7B77BD8236C0}" srcOrd="11" destOrd="0" presId="urn:microsoft.com/office/officeart/2008/layout/HorizontalMultiLevelHierarchy"/>
    <dgm:cxn modelId="{04238A64-FCA5-4EFA-9E48-752E4327BBB8}" type="presParOf" srcId="{459AC21B-1C98-42D7-A4A8-7B77BD8236C0}" destId="{1609F1F0-B9EC-49C3-B483-830431371036}" srcOrd="0" destOrd="0" presId="urn:microsoft.com/office/officeart/2008/layout/HorizontalMultiLevelHierarchy"/>
    <dgm:cxn modelId="{279F8F60-F598-46EF-B6E2-AAD0878C16ED}" type="presParOf" srcId="{459AC21B-1C98-42D7-A4A8-7B77BD8236C0}" destId="{A51437D0-09FE-4368-BE8C-C88077ADDFC0}" srcOrd="1" destOrd="0" presId="urn:microsoft.com/office/officeart/2008/layout/HorizontalMultiLevelHierarchy"/>
    <dgm:cxn modelId="{80CB2EB9-ED1A-4472-AE10-92805E67915C}" type="presParOf" srcId="{B2FE81D5-E6DA-419B-9147-3A4D44EE742E}" destId="{E4A827AE-75C5-4549-BE7E-8C6BF6FACCED}" srcOrd="12" destOrd="0" presId="urn:microsoft.com/office/officeart/2008/layout/HorizontalMultiLevelHierarchy"/>
    <dgm:cxn modelId="{5C60B626-1F4B-4C3F-AF3F-3A4F99D937F7}" type="presParOf" srcId="{E4A827AE-75C5-4549-BE7E-8C6BF6FACCED}" destId="{8FD558C2-E0EC-4A69-926C-7AEE0D7FEC8E}" srcOrd="0" destOrd="0" presId="urn:microsoft.com/office/officeart/2008/layout/HorizontalMultiLevelHierarchy"/>
    <dgm:cxn modelId="{79DA1C4A-22DF-4551-967A-07B24FA3DE51}" type="presParOf" srcId="{B2FE81D5-E6DA-419B-9147-3A4D44EE742E}" destId="{0468F128-D078-4AD9-A820-0A7099CC06D3}" srcOrd="13" destOrd="0" presId="urn:microsoft.com/office/officeart/2008/layout/HorizontalMultiLevelHierarchy"/>
    <dgm:cxn modelId="{60AF0A08-BFE5-4779-BD17-5BE9B27260FA}" type="presParOf" srcId="{0468F128-D078-4AD9-A820-0A7099CC06D3}" destId="{C68CF0C5-08A1-46A7-82FC-12B93E1B1A37}" srcOrd="0" destOrd="0" presId="urn:microsoft.com/office/officeart/2008/layout/HorizontalMultiLevelHierarchy"/>
    <dgm:cxn modelId="{77E4DEBF-5C7B-4D93-AEDF-791F33F27720}" type="presParOf" srcId="{0468F128-D078-4AD9-A820-0A7099CC06D3}" destId="{F271BA73-DBA6-4F0E-89CF-9AEDAE3B496F}" srcOrd="1" destOrd="0" presId="urn:microsoft.com/office/officeart/2008/layout/HorizontalMultiLevelHierarchy"/>
    <dgm:cxn modelId="{FCE6D68D-39B1-40AF-B06D-8EEA56D85168}" type="presParOf" srcId="{B2FE81D5-E6DA-419B-9147-3A4D44EE742E}" destId="{DCF41397-3EB2-44E1-A698-28C9F69ED030}" srcOrd="14" destOrd="0" presId="urn:microsoft.com/office/officeart/2008/layout/HorizontalMultiLevelHierarchy"/>
    <dgm:cxn modelId="{B5596397-7112-419A-8187-9ACC7617E72E}" type="presParOf" srcId="{DCF41397-3EB2-44E1-A698-28C9F69ED030}" destId="{F62E8F84-B509-4E6E-8CC2-9F59659762C8}" srcOrd="0" destOrd="0" presId="urn:microsoft.com/office/officeart/2008/layout/HorizontalMultiLevelHierarchy"/>
    <dgm:cxn modelId="{20868238-3E33-4DFC-A939-E3E0431289FC}" type="presParOf" srcId="{B2FE81D5-E6DA-419B-9147-3A4D44EE742E}" destId="{BE4B9047-4003-4909-B9C2-173939096F87}" srcOrd="15" destOrd="0" presId="urn:microsoft.com/office/officeart/2008/layout/HorizontalMultiLevelHierarchy"/>
    <dgm:cxn modelId="{5F57B9E8-02BC-455C-B833-BEEEE0A66C47}" type="presParOf" srcId="{BE4B9047-4003-4909-B9C2-173939096F87}" destId="{9362DE1B-4960-47B7-A274-76FB4501C92C}" srcOrd="0" destOrd="0" presId="urn:microsoft.com/office/officeart/2008/layout/HorizontalMultiLevelHierarchy"/>
    <dgm:cxn modelId="{D4B9A663-D412-4D04-830A-76FD036C61EB}"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2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qlazuremw.codeplex.com/"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64</a:t>
            </a:fld>
            <a:endParaRPr lang="en-US">
              <a:solidFill>
                <a:prstClr val="black"/>
              </a:solidFill>
            </a:endParaRPr>
          </a:p>
        </p:txBody>
      </p:sp>
    </p:spTree>
    <p:extLst>
      <p:ext uri="{BB962C8B-B14F-4D97-AF65-F5344CB8AC3E}">
        <p14:creationId xmlns:p14="http://schemas.microsoft.com/office/powerpoint/2010/main" val="329599264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66</a:t>
            </a:fld>
            <a:endParaRPr lang="en-US">
              <a:solidFill>
                <a:prstClr val="black"/>
              </a:solidFill>
            </a:endParaRPr>
          </a:p>
        </p:txBody>
      </p:sp>
    </p:spTree>
    <p:extLst>
      <p:ext uri="{BB962C8B-B14F-4D97-AF65-F5344CB8AC3E}">
        <p14:creationId xmlns:p14="http://schemas.microsoft.com/office/powerpoint/2010/main" val="86886967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67</a:t>
            </a:fld>
            <a:endParaRPr lang="en-US" dirty="0">
              <a:solidFill>
                <a:prstClr val="black"/>
              </a:solidFill>
            </a:endParaRPr>
          </a:p>
        </p:txBody>
      </p:sp>
    </p:spTree>
    <p:extLst>
      <p:ext uri="{BB962C8B-B14F-4D97-AF65-F5344CB8AC3E}">
        <p14:creationId xmlns:p14="http://schemas.microsoft.com/office/powerpoint/2010/main" val="14492290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HDInsight</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1</a:t>
            </a:fld>
            <a:endParaRPr lang="en-US"/>
          </a:p>
        </p:txBody>
      </p:sp>
    </p:spTree>
    <p:extLst>
      <p:ext uri="{BB962C8B-B14F-4D97-AF65-F5344CB8AC3E}">
        <p14:creationId xmlns:p14="http://schemas.microsoft.com/office/powerpoint/2010/main" val="80416951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2</a:t>
            </a:fld>
            <a:endParaRPr lang="en-US" dirty="0">
              <a:solidFill>
                <a:prstClr val="black"/>
              </a:solidFill>
            </a:endParaRPr>
          </a:p>
        </p:txBody>
      </p:sp>
    </p:spTree>
    <p:extLst>
      <p:ext uri="{BB962C8B-B14F-4D97-AF65-F5344CB8AC3E}">
        <p14:creationId xmlns:p14="http://schemas.microsoft.com/office/powerpoint/2010/main" val="2002141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73</a:t>
            </a:fld>
            <a:endParaRPr lang="zh-CN" altLang="en-US">
              <a:solidFill>
                <a:prstClr val="black"/>
              </a:solidFill>
            </a:endParaRPr>
          </a:p>
        </p:txBody>
      </p:sp>
    </p:spTree>
    <p:extLst>
      <p:ext uri="{BB962C8B-B14F-4D97-AF65-F5344CB8AC3E}">
        <p14:creationId xmlns:p14="http://schemas.microsoft.com/office/powerpoint/2010/main" val="315206962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74</a:t>
            </a:fld>
            <a:endParaRPr lang="en-US" dirty="0">
              <a:solidFill>
                <a:prstClr val="black"/>
              </a:solidFill>
            </a:endParaRPr>
          </a:p>
        </p:txBody>
      </p:sp>
    </p:spTree>
    <p:extLst>
      <p:ext uri="{BB962C8B-B14F-4D97-AF65-F5344CB8AC3E}">
        <p14:creationId xmlns:p14="http://schemas.microsoft.com/office/powerpoint/2010/main" val="266393775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75</a:t>
            </a:fld>
            <a:endParaRPr lang="en-US">
              <a:solidFill>
                <a:prstClr val="black"/>
              </a:solidFill>
            </a:endParaRPr>
          </a:p>
        </p:txBody>
      </p:sp>
    </p:spTree>
    <p:extLst>
      <p:ext uri="{BB962C8B-B14F-4D97-AF65-F5344CB8AC3E}">
        <p14:creationId xmlns:p14="http://schemas.microsoft.com/office/powerpoint/2010/main" val="172451942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6</a:t>
            </a:fld>
            <a:endParaRPr lang="en-US" dirty="0">
              <a:solidFill>
                <a:prstClr val="black"/>
              </a:solidFill>
            </a:endParaRPr>
          </a:p>
        </p:txBody>
      </p:sp>
    </p:spTree>
    <p:extLst>
      <p:ext uri="{BB962C8B-B14F-4D97-AF65-F5344CB8AC3E}">
        <p14:creationId xmlns:p14="http://schemas.microsoft.com/office/powerpoint/2010/main" val="279372227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7</a:t>
            </a:fld>
            <a:endParaRPr lang="en-US" dirty="0">
              <a:solidFill>
                <a:prstClr val="black"/>
              </a:solidFill>
            </a:endParaRPr>
          </a:p>
        </p:txBody>
      </p:sp>
    </p:spTree>
    <p:extLst>
      <p:ext uri="{BB962C8B-B14F-4D97-AF65-F5344CB8AC3E}">
        <p14:creationId xmlns:p14="http://schemas.microsoft.com/office/powerpoint/2010/main" val="1568317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8</a:t>
            </a:fld>
            <a:endParaRPr lang="en-US" dirty="0">
              <a:solidFill>
                <a:prstClr val="black"/>
              </a:solidFill>
            </a:endParaRPr>
          </a:p>
        </p:txBody>
      </p:sp>
    </p:spTree>
    <p:extLst>
      <p:ext uri="{BB962C8B-B14F-4D97-AF65-F5344CB8AC3E}">
        <p14:creationId xmlns:p14="http://schemas.microsoft.com/office/powerpoint/2010/main" val="302849698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9</a:t>
            </a:fld>
            <a:endParaRPr lang="en-US" dirty="0">
              <a:solidFill>
                <a:prstClr val="black"/>
              </a:solidFill>
            </a:endParaRPr>
          </a:p>
        </p:txBody>
      </p:sp>
    </p:spTree>
    <p:extLst>
      <p:ext uri="{BB962C8B-B14F-4D97-AF65-F5344CB8AC3E}">
        <p14:creationId xmlns:p14="http://schemas.microsoft.com/office/powerpoint/2010/main" val="158271598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6</a:t>
            </a:fld>
            <a:endParaRPr lang="en-US" dirty="0">
              <a:solidFill>
                <a:prstClr val="black"/>
              </a:solidFill>
            </a:endParaRPr>
          </a:p>
        </p:txBody>
      </p:sp>
    </p:spTree>
    <p:extLst>
      <p:ext uri="{BB962C8B-B14F-4D97-AF65-F5344CB8AC3E}">
        <p14:creationId xmlns:p14="http://schemas.microsoft.com/office/powerpoint/2010/main" val="217986305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7</a:t>
            </a:fld>
            <a:endParaRPr lang="en-US" dirty="0">
              <a:solidFill>
                <a:prstClr val="black"/>
              </a:solidFill>
            </a:endParaRPr>
          </a:p>
        </p:txBody>
      </p:sp>
    </p:spTree>
    <p:extLst>
      <p:ext uri="{BB962C8B-B14F-4D97-AF65-F5344CB8AC3E}">
        <p14:creationId xmlns:p14="http://schemas.microsoft.com/office/powerpoint/2010/main" val="348477775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20/2015 10: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8</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20/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9</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0</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2</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23234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a:t>
            </a:r>
            <a:r>
              <a:rPr lang="en-US" baseline="0" dirty="0" smtClean="0">
                <a:effectLst/>
                <a:latin typeface="Segoe UI" panose="020B0502040204020203" pitchFamily="34" charset="0"/>
              </a:rPr>
              <a:t> how to configure IP-Filtering in the firewall for the SQL </a:t>
            </a:r>
            <a:r>
              <a:rPr lang="en-US" baseline="0" smtClean="0">
                <a:effectLst/>
                <a:latin typeface="Segoe UI" panose="020B0502040204020203" pitchFamily="34" charset="0"/>
              </a:rPr>
              <a:t>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375812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 or xplat-cli.</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700392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620527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dirty="0" smtClean="0"/>
              <a:t>Use the new Azure Portal (Ibiza) to create a new database server.</a:t>
            </a:r>
          </a:p>
          <a:p>
            <a:endParaRPr lang="en-US" sz="700" dirty="0" smtClean="0"/>
          </a:p>
          <a:p>
            <a:pPr marL="171450" indent="-171450">
              <a:buFont typeface="Arial" panose="020B0604020202020204" pitchFamily="34" charset="0"/>
              <a:buChar char="•"/>
            </a:pPr>
            <a:r>
              <a:rPr lang="en-US" sz="700" baseline="0" dirty="0" smtClean="0"/>
              <a:t>Log into http://portal.azure.com</a:t>
            </a:r>
          </a:p>
          <a:p>
            <a:pPr marL="171450" indent="-171450">
              <a:buFont typeface="Arial" panose="020B0604020202020204" pitchFamily="34" charset="0"/>
              <a:buChar char="•"/>
            </a:pPr>
            <a:r>
              <a:rPr lang="en-US" sz="700" dirty="0" smtClean="0"/>
              <a:t>Click</a:t>
            </a:r>
            <a:r>
              <a:rPr lang="en-US" sz="700" baseline="0" dirty="0" smtClean="0"/>
              <a:t> on “new +” in the bottom left corner and select SQL Database.</a:t>
            </a:r>
          </a:p>
          <a:p>
            <a:pPr marL="171450" indent="-171450">
              <a:buFont typeface="Arial" panose="020B0604020202020204" pitchFamily="34" charset="0"/>
              <a:buChar char="•"/>
            </a:pPr>
            <a:r>
              <a:rPr lang="en-US" sz="700" baseline="0" dirty="0" smtClean="0"/>
              <a:t>Enter Database name and select source -&gt; Blank database.</a:t>
            </a:r>
          </a:p>
          <a:p>
            <a:pPr marL="171450" indent="-171450">
              <a:buFont typeface="Arial" panose="020B0604020202020204" pitchFamily="34" charset="0"/>
              <a:buChar char="•"/>
            </a:pPr>
            <a:r>
              <a:rPr lang="en-US" sz="700" baseline="0" dirty="0" smtClean="0"/>
              <a:t>Open up Pricing Tier and “Browse all pricing tiers”. Show the tiers and then select one. For instance “Basic”!</a:t>
            </a:r>
          </a:p>
          <a:p>
            <a:pPr marL="171450" indent="-171450">
              <a:buFont typeface="Arial" panose="020B0604020202020204" pitchFamily="34" charset="0"/>
              <a:buChar char="•"/>
            </a:pPr>
            <a:r>
              <a:rPr lang="en-US" sz="700" baseline="0" dirty="0" smtClean="0"/>
              <a:t>Click on Server and enter a name. Point out that the old (current) portal does not allow you to specify your own name for the server. Enter the data you wish for server.</a:t>
            </a:r>
          </a:p>
          <a:p>
            <a:pPr marL="171450" indent="-171450">
              <a:buFont typeface="Arial" panose="020B0604020202020204" pitchFamily="34" charset="0"/>
              <a:buChar char="•"/>
            </a:pPr>
            <a:r>
              <a:rPr lang="en-US" sz="700" baseline="0" dirty="0" smtClean="0"/>
              <a:t>Create. Let it create.</a:t>
            </a:r>
          </a:p>
          <a:p>
            <a:pPr marL="171450" indent="-171450">
              <a:buFont typeface="Arial" panose="020B0604020202020204" pitchFamily="34" charset="0"/>
              <a:buChar char="•"/>
            </a:pPr>
            <a:r>
              <a:rPr lang="en-US" sz="700" baseline="0" dirty="0" smtClean="0"/>
              <a:t>Show the database. Also click on properties and show the connection strings.</a:t>
            </a:r>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ing the same database server from before…</a:t>
            </a:r>
          </a:p>
          <a:p>
            <a:endParaRPr lang="en-US" dirty="0" smtClean="0"/>
          </a:p>
          <a:p>
            <a:pPr marL="171450" indent="-171450">
              <a:buFont typeface="Arial" panose="020B0604020202020204" pitchFamily="34" charset="0"/>
              <a:buChar char="•"/>
            </a:pPr>
            <a:r>
              <a:rPr lang="en-US" sz="800" baseline="0" dirty="0" smtClean="0"/>
              <a:t>Back in the portal with the database from last demo, click on “Open in Visual Studio” and firewall. Show that it’s work in progress here. Then go to the old portal and configure firewall based on current IP. Reload this in the new portal and see the firewall rule there.</a:t>
            </a:r>
          </a:p>
          <a:p>
            <a:pPr marL="171450" indent="-171450">
              <a:buFont typeface="Arial" panose="020B0604020202020204" pitchFamily="34" charset="0"/>
              <a:buChar char="•"/>
            </a:pPr>
            <a:r>
              <a:rPr lang="en-US" sz="800" baseline="0" dirty="0" smtClean="0"/>
              <a:t>Click Open in Visual Studio and show the database</a:t>
            </a:r>
            <a:r>
              <a:rPr lang="en-US" sz="1200" baseline="0" dirty="0" smtClean="0"/>
              <a:t> from Visual Studio.</a:t>
            </a:r>
          </a:p>
          <a:p>
            <a:pPr marL="171450" indent="-171450">
              <a:buFont typeface="Arial" panose="020B0604020202020204" pitchFamily="34" charset="0"/>
              <a:buChar char="•"/>
            </a:pPr>
            <a:r>
              <a:rPr lang="en-US" sz="800" baseline="0" dirty="0" smtClean="0"/>
              <a:t>Open SSMS (SQL Server Management Studio) and the connect dialog</a:t>
            </a:r>
            <a:r>
              <a:rPr lang="en-US" sz="800" baseline="0" dirty="0" smtClean="0"/>
              <a:t>. (Note: It’s probably a good idea to run at least SQL Server Developer Edition on your local machine.)</a:t>
            </a:r>
            <a:endParaRPr lang="en-US" sz="800" baseline="0" dirty="0" smtClean="0"/>
          </a:p>
          <a:p>
            <a:pPr marL="171450" indent="-171450">
              <a:buFont typeface="Arial" panose="020B0604020202020204" pitchFamily="34" charset="0"/>
              <a:buChar char="•"/>
            </a:pPr>
            <a:r>
              <a:rPr lang="en-US" sz="800" baseline="0" dirty="0" smtClean="0"/>
              <a:t>Back in the portal again reopen the connection strings. This is a good place to find the exact credentials to connect to  your database!</a:t>
            </a:r>
          </a:p>
          <a:p>
            <a:pPr marL="171450" indent="-171450">
              <a:buFont typeface="Arial" panose="020B0604020202020204" pitchFamily="34" charset="0"/>
              <a:buChar char="•"/>
            </a:pPr>
            <a:r>
              <a:rPr lang="en-US" sz="800" baseline="0" dirty="0" smtClean="0"/>
              <a:t>In the connection string for ADO.NET copy your server name from the Server property “Server=</a:t>
            </a:r>
            <a:r>
              <a:rPr lang="en-US" sz="800" baseline="0" dirty="0" err="1" smtClean="0"/>
              <a:t>tcp</a:t>
            </a:r>
            <a:r>
              <a:rPr lang="en-US" sz="800" baseline="0" dirty="0" smtClean="0"/>
              <a:t>:{your server name},1433” and paste as Server name in SSMS.</a:t>
            </a:r>
          </a:p>
          <a:p>
            <a:pPr marL="171450" indent="-171450">
              <a:buFont typeface="Arial" panose="020B0604020202020204" pitchFamily="34" charset="0"/>
              <a:buChar char="•"/>
            </a:pPr>
            <a:r>
              <a:rPr lang="en-US" sz="800" baseline="0" dirty="0" smtClean="0"/>
              <a:t>Copy the User Id from the connection string “</a:t>
            </a:r>
            <a:r>
              <a:rPr lang="en-US" sz="800" baseline="0" dirty="0" err="1" smtClean="0"/>
              <a:t>Username@Servername</a:t>
            </a:r>
            <a:r>
              <a:rPr lang="en-US" sz="800" baseline="0" dirty="0" smtClean="0"/>
              <a:t>” and paste as Login in SSMS.</a:t>
            </a:r>
          </a:p>
          <a:p>
            <a:pPr marL="171450" indent="-171450">
              <a:buFont typeface="Arial" panose="020B0604020202020204" pitchFamily="34" charset="0"/>
              <a:buChar char="•"/>
            </a:pPr>
            <a:r>
              <a:rPr lang="en-US" sz="800" baseline="0" dirty="0" smtClean="0"/>
              <a:t>Type the password and connect.</a:t>
            </a:r>
          </a:p>
          <a:p>
            <a:pPr marL="171450" indent="-171450">
              <a:buFont typeface="Arial" panose="020B0604020202020204" pitchFamily="34" charset="0"/>
              <a:buChar char="•"/>
            </a:pPr>
            <a:r>
              <a:rPr lang="en-US" sz="800" baseline="0" dirty="0" smtClean="0"/>
              <a:t>Show that it is pretty much the same experience as before!</a:t>
            </a:r>
          </a:p>
          <a:p>
            <a:pPr marL="0" indent="0">
              <a:buFont typeface="Arial" panose="020B0604020202020204" pitchFamily="34" charset="0"/>
              <a:buNone/>
            </a:pPr>
            <a:endParaRPr lang="en-US" sz="800" baseline="0" dirty="0" smtClean="0"/>
          </a:p>
          <a:p>
            <a:pPr marL="171450" indent="-171450">
              <a:buFont typeface="Arial" panose="020B0604020202020204" pitchFamily="34" charset="0"/>
              <a:buChar char="•"/>
            </a:pPr>
            <a:r>
              <a:rPr lang="en-US" sz="800" baseline="0" dirty="0" smtClean="0"/>
              <a:t>From SSMS connect to a local SQL Server with a demo database</a:t>
            </a:r>
            <a:r>
              <a:rPr lang="en-US" sz="800" baseline="0" dirty="0" smtClean="0"/>
              <a:t>.</a:t>
            </a:r>
          </a:p>
          <a:p>
            <a:pPr marL="628650" lvl="1" indent="-171450">
              <a:buFont typeface="Arial" panose="020B0604020202020204" pitchFamily="34" charset="0"/>
              <a:buChar char="•"/>
            </a:pPr>
            <a:r>
              <a:rPr lang="en-US" sz="800" baseline="0" dirty="0" smtClean="0"/>
              <a:t>For </a:t>
            </a:r>
            <a:r>
              <a:rPr lang="en-US" sz="800" baseline="0" dirty="0" smtClean="0"/>
              <a:t>instance you can use </a:t>
            </a:r>
            <a:r>
              <a:rPr lang="en-US" sz="800" baseline="0" dirty="0" err="1" smtClean="0"/>
              <a:t>Adventureworks</a:t>
            </a:r>
            <a:r>
              <a:rPr lang="en-US" sz="800" baseline="0" dirty="0" smtClean="0"/>
              <a:t> demo database: http://</a:t>
            </a:r>
            <a:r>
              <a:rPr lang="en-US" sz="800" baseline="0" dirty="0" smtClean="0"/>
              <a:t>msftdbprodsamples.codeplex.com.</a:t>
            </a:r>
          </a:p>
          <a:p>
            <a:pPr marL="628650" lvl="1" indent="-171450">
              <a:buFont typeface="Arial" panose="020B0604020202020204" pitchFamily="34" charset="0"/>
              <a:buChar char="•"/>
            </a:pPr>
            <a:r>
              <a:rPr lang="en-US" sz="800" baseline="0" dirty="0" smtClean="0"/>
              <a:t>What you will need to do in this case is deploy the Azure version of </a:t>
            </a:r>
            <a:r>
              <a:rPr lang="en-US" sz="800" baseline="0" dirty="0" err="1" smtClean="0"/>
              <a:t>Adventureworks</a:t>
            </a:r>
            <a:r>
              <a:rPr lang="en-US" sz="800" baseline="0" dirty="0" smtClean="0"/>
              <a:t> to an Azure Database. Export this database and Import the same on premise. Then you can use this on premise version to migrate back to Azure as a demo.</a:t>
            </a:r>
          </a:p>
          <a:p>
            <a:pPr marL="628650" lvl="1" indent="-171450">
              <a:buFont typeface="Arial" panose="020B0604020202020204" pitchFamily="34" charset="0"/>
              <a:buChar char="•"/>
            </a:pPr>
            <a:r>
              <a:rPr lang="en-US" sz="800" baseline="0" dirty="0" smtClean="0"/>
              <a:t>If you encounter issues with compatibility you can consult the </a:t>
            </a:r>
            <a:r>
              <a:rPr lang="en-US" sz="1200" kern="1200" dirty="0" smtClean="0">
                <a:solidFill>
                  <a:schemeClr val="tx1"/>
                </a:solidFill>
                <a:effectLst/>
                <a:latin typeface="+mn-lt"/>
                <a:ea typeface="+mn-ea"/>
                <a:cs typeface="+mn-cs"/>
              </a:rPr>
              <a:t>SQL Azure Migration Wizard</a:t>
            </a:r>
            <a:r>
              <a:rPr lang="en-US" sz="1200" kern="1200" baseline="0" dirty="0" smtClean="0">
                <a:solidFill>
                  <a:schemeClr val="tx1"/>
                </a:solidFill>
                <a:effectLst/>
                <a:latin typeface="+mn-lt"/>
                <a:ea typeface="+mn-ea"/>
                <a:cs typeface="+mn-cs"/>
              </a:rPr>
              <a:t> on </a:t>
            </a:r>
            <a:r>
              <a:rPr lang="en-US" sz="1200" kern="1200" dirty="0" err="1" smtClean="0">
                <a:solidFill>
                  <a:schemeClr val="tx1"/>
                </a:solidFill>
                <a:effectLst/>
                <a:latin typeface="+mn-lt"/>
                <a:ea typeface="+mn-ea"/>
                <a:cs typeface="+mn-cs"/>
              </a:rPr>
              <a:t>CodePlex</a:t>
            </a:r>
            <a:r>
              <a:rPr lang="en-US" sz="1200" kern="1200" dirty="0" smtClean="0">
                <a:solidFill>
                  <a:schemeClr val="tx1"/>
                </a:solidFill>
                <a:effectLst/>
                <a:latin typeface="+mn-lt"/>
                <a:ea typeface="+mn-ea"/>
                <a:cs typeface="+mn-cs"/>
              </a:rPr>
              <a:t> </a:t>
            </a:r>
            <a:r>
              <a:rPr lang="en-US" sz="1200" u="sng" kern="1200" dirty="0" smtClean="0">
                <a:solidFill>
                  <a:schemeClr val="tx1"/>
                </a:solidFill>
                <a:effectLst/>
                <a:latin typeface="+mn-lt"/>
                <a:ea typeface="+mn-ea"/>
                <a:cs typeface="+mn-cs"/>
                <a:hlinkClick r:id="rId3"/>
              </a:rPr>
              <a:t>http://sqlazuremw.codeplex.com/</a:t>
            </a:r>
            <a:r>
              <a:rPr lang="en-US" sz="1200" kern="1200" dirty="0" smtClean="0">
                <a:solidFill>
                  <a:schemeClr val="tx1"/>
                </a:solidFill>
                <a:effectLst/>
                <a:latin typeface="+mn-lt"/>
                <a:ea typeface="+mn-ea"/>
                <a:cs typeface="+mn-cs"/>
              </a:rPr>
              <a:t>.</a:t>
            </a:r>
          </a:p>
          <a:p>
            <a:pPr marL="628650" lvl="1" indent="-171450">
              <a:buFont typeface="Arial" panose="020B0604020202020204" pitchFamily="34" charset="0"/>
              <a:buChar char="•"/>
            </a:pPr>
            <a:r>
              <a:rPr lang="en-US" sz="1200" kern="1200" baseline="0" dirty="0" smtClean="0">
                <a:solidFill>
                  <a:schemeClr val="tx1"/>
                </a:solidFill>
                <a:effectLst/>
                <a:latin typeface="+mn-lt"/>
                <a:ea typeface="+mn-ea"/>
                <a:cs typeface="+mn-cs"/>
              </a:rPr>
              <a:t>The idea here is to use SSMS to simply fire off a compatible database migration from a SQL Server to Azure SQL Database.</a:t>
            </a:r>
            <a:endParaRPr lang="en-US" sz="800" baseline="0" dirty="0" smtClean="0"/>
          </a:p>
          <a:p>
            <a:pPr marL="171450" indent="-171450">
              <a:buFont typeface="Arial" panose="020B0604020202020204" pitchFamily="34" charset="0"/>
              <a:buChar char="•"/>
            </a:pPr>
            <a:r>
              <a:rPr lang="en-US" sz="800" baseline="0" dirty="0" smtClean="0"/>
              <a:t>Right click on the database -&gt; Tasks -&gt; Deploy Database to ‘Windows’ Azure SQL Database.</a:t>
            </a:r>
          </a:p>
          <a:p>
            <a:pPr marL="171450" indent="-171450">
              <a:buFont typeface="Arial" panose="020B0604020202020204" pitchFamily="34" charset="0"/>
              <a:buChar char="•"/>
            </a:pPr>
            <a:r>
              <a:rPr lang="en-US" sz="800" baseline="0" dirty="0" smtClean="0"/>
              <a:t>Go through the wizard and deploy.</a:t>
            </a:r>
          </a:p>
          <a:p>
            <a:pPr marL="171450" indent="-171450">
              <a:buFont typeface="Arial" panose="020B0604020202020204" pitchFamily="34" charset="0"/>
              <a:buChar char="•"/>
            </a:pPr>
            <a:r>
              <a:rPr lang="en-US" sz="800" baseline="0" dirty="0" smtClean="0"/>
              <a:t>Using SSMS open up the database in Azure!</a:t>
            </a:r>
            <a:endParaRPr lang="en-US" sz="8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Microsoft Azure</a:t>
            </a:r>
            <a:r>
              <a:rPr lang="sv-SE" baseline="0" dirty="0" smtClean="0"/>
              <a:t> SQL </a:t>
            </a:r>
            <a:r>
              <a:rPr lang="sv-SE" baseline="0" dirty="0" err="1" smtClean="0"/>
              <a:t>Database</a:t>
            </a:r>
            <a:r>
              <a:rPr lang="sv-SE" baseline="0" dirty="0" smtClean="0"/>
              <a:t> the PaaS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448272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SSMS to deploy</a:t>
            </a:r>
            <a:r>
              <a:rPr lang="en-US" baseline="0" dirty="0" smtClean="0"/>
              <a:t> DAC pack to previously provisioned database </a:t>
            </a:r>
            <a:r>
              <a:rPr lang="en-US" baseline="0" dirty="0" smtClean="0"/>
              <a:t>server.</a:t>
            </a:r>
          </a:p>
          <a:p>
            <a:endParaRPr lang="en-US" baseline="0" dirty="0" smtClean="0"/>
          </a:p>
          <a:p>
            <a:r>
              <a:rPr lang="en-US" baseline="0" dirty="0" smtClean="0"/>
              <a:t>Preparation:</a:t>
            </a:r>
          </a:p>
          <a:p>
            <a:pPr marL="171450" indent="-171450">
              <a:buFont typeface="Arial" panose="020B0604020202020204" pitchFamily="34" charset="0"/>
              <a:buChar char="•"/>
            </a:pPr>
            <a:r>
              <a:rPr lang="en-US" baseline="0" dirty="0" smtClean="0"/>
              <a:t>In SSMS right-click your database and choose -&gt; Tasks -&gt; Extract data-tier application.</a:t>
            </a:r>
          </a:p>
          <a:p>
            <a:pPr marL="171450" indent="-171450">
              <a:buFont typeface="Arial" panose="020B0604020202020204" pitchFamily="34" charset="0"/>
              <a:buChar char="•"/>
            </a:pPr>
            <a:r>
              <a:rPr lang="en-US" baseline="0" dirty="0" smtClean="0"/>
              <a:t>Follow the wizard to export your .</a:t>
            </a:r>
            <a:r>
              <a:rPr lang="en-US" baseline="0" dirty="0" err="1" smtClean="0"/>
              <a:t>dacpac</a:t>
            </a:r>
            <a:r>
              <a:rPr lang="en-US" baseline="0" dirty="0" smtClean="0"/>
              <a:t>.</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Demo:</a:t>
            </a:r>
          </a:p>
          <a:p>
            <a:pPr marL="171450" indent="-171450">
              <a:buFont typeface="Arial" panose="020B0604020202020204" pitchFamily="34" charset="0"/>
              <a:buChar char="•"/>
            </a:pPr>
            <a:r>
              <a:rPr lang="en-US" baseline="0" dirty="0" smtClean="0"/>
              <a:t>In SSMS connect to your SQL Database Server in Azure.</a:t>
            </a:r>
          </a:p>
          <a:p>
            <a:pPr marL="171450" indent="-171450">
              <a:buFont typeface="Arial" panose="020B0604020202020204" pitchFamily="34" charset="0"/>
              <a:buChar char="•"/>
            </a:pPr>
            <a:r>
              <a:rPr lang="en-US" baseline="0" dirty="0" smtClean="0"/>
              <a:t>Right click “Databases” -&gt; “Deploy</a:t>
            </a:r>
            <a:r>
              <a:rPr lang="en-US" baseline="0" dirty="0"/>
              <a:t> </a:t>
            </a:r>
            <a:r>
              <a:rPr lang="en-US" baseline="0" dirty="0" smtClean="0"/>
              <a:t>data-tier Application…”.</a:t>
            </a:r>
          </a:p>
          <a:p>
            <a:pPr marL="171450" indent="-171450">
              <a:buFont typeface="Arial" panose="020B0604020202020204" pitchFamily="34" charset="0"/>
              <a:buChar char="•"/>
            </a:pPr>
            <a:r>
              <a:rPr lang="en-US" baseline="0" dirty="0" smtClean="0"/>
              <a:t>Follow the wizard and select your .</a:t>
            </a:r>
            <a:r>
              <a:rPr lang="en-US" baseline="0" dirty="0" err="1" smtClean="0"/>
              <a:t>dacpac</a:t>
            </a:r>
            <a:r>
              <a:rPr lang="en-US" baseline="0" dirty="0" smtClean="0"/>
              <a:t>.</a:t>
            </a:r>
          </a:p>
          <a:p>
            <a:pPr marL="171450" indent="-171450">
              <a:buFont typeface="Arial" panose="020B0604020202020204" pitchFamily="34" charset="0"/>
              <a:buChar char="•"/>
            </a:pPr>
            <a:r>
              <a:rPr lang="en-US" baseline="0" dirty="0" smtClean="0"/>
              <a:t>Deploy the database.</a:t>
            </a:r>
          </a:p>
          <a:p>
            <a:pPr marL="171450" indent="-171450">
              <a:buFont typeface="Arial" panose="020B0604020202020204" pitchFamily="34" charset="0"/>
              <a:buChar char="•"/>
            </a:pPr>
            <a:r>
              <a:rPr lang="en-US" baseline="0" dirty="0" smtClean="0"/>
              <a:t>You now have a database in Azure but no data deployed to it. In order to do that instead use a .</a:t>
            </a:r>
            <a:r>
              <a:rPr lang="en-US" baseline="0" dirty="0" err="1" smtClean="0"/>
              <a:t>bacpac</a:t>
            </a:r>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44</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5</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6</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7</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8</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5552033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51</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smtClean="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44735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9</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SQL Server in a Microsoft Azure </a:t>
            </a:r>
            <a:r>
              <a:rPr lang="sv-SE" baseline="0" dirty="0" err="1" smtClean="0"/>
              <a:t>Virtual</a:t>
            </a:r>
            <a:r>
              <a:rPr lang="sv-SE" baseline="0" dirty="0" smtClean="0"/>
              <a:t> </a:t>
            </a:r>
            <a:r>
              <a:rPr lang="sv-SE" baseline="0" dirty="0" err="1" smtClean="0"/>
              <a:t>Machin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37740200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Use http://portal.azure.com</a:t>
            </a:r>
            <a:endParaRPr lang="en-US" baseline="0" dirty="0" smtClean="0"/>
          </a:p>
          <a:p>
            <a:pPr marL="171450" indent="-171450">
              <a:buFont typeface="Arial" panose="020B0604020202020204" pitchFamily="34" charset="0"/>
              <a:buChar char="•"/>
            </a:pPr>
            <a:r>
              <a:rPr lang="en-US" baseline="0" dirty="0" smtClean="0"/>
              <a:t>Enter Marketplace.</a:t>
            </a:r>
          </a:p>
          <a:p>
            <a:pPr marL="171450" indent="-171450">
              <a:buFont typeface="Arial" panose="020B0604020202020204" pitchFamily="34" charset="0"/>
              <a:buChar char="•"/>
            </a:pPr>
            <a:r>
              <a:rPr lang="en-US" baseline="0" dirty="0" smtClean="0"/>
              <a:t>Select Data -&gt; SQL Server -&gt; Any SQL VM you like. For example “SQL Server 2012 SP2 on Windows Server 2012”. Click create.</a:t>
            </a:r>
          </a:p>
          <a:p>
            <a:pPr marL="171450" indent="-171450">
              <a:buFont typeface="Arial" panose="020B0604020202020204" pitchFamily="34" charset="0"/>
              <a:buChar char="•"/>
            </a:pPr>
            <a:r>
              <a:rPr lang="en-US" baseline="0" dirty="0" smtClean="0"/>
              <a:t>Show Pricing tier (including all pricing tiers) and other creation options and settings.</a:t>
            </a:r>
          </a:p>
          <a:p>
            <a:pPr marL="171450" indent="-171450">
              <a:buFont typeface="Arial" panose="020B0604020202020204" pitchFamily="34" charset="0"/>
              <a:buChar char="•"/>
            </a:pPr>
            <a:r>
              <a:rPr lang="en-US" baseline="0" dirty="0" smtClean="0"/>
              <a:t>Deploy it!</a:t>
            </a:r>
          </a:p>
          <a:p>
            <a:pPr marL="0" indent="0">
              <a:buFont typeface="Arial" panose="020B0604020202020204" pitchFamily="34" charset="0"/>
              <a:buNone/>
            </a:pPr>
            <a:r>
              <a:rPr lang="en-US" baseline="0" dirty="0" smtClean="0"/>
              <a:t>(Don’t forget to delete it or at least stop it later to reduce cost on your Azure accoun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7</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6030519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the </a:t>
            </a:r>
            <a:r>
              <a:rPr lang="sv-SE" baseline="0" dirty="0" err="1" smtClean="0"/>
              <a:t>relatively</a:t>
            </a:r>
            <a:r>
              <a:rPr lang="sv-SE" baseline="0" dirty="0" smtClean="0"/>
              <a:t> new Microsoft Azure DocumentDB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1232294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many</a:t>
            </a:r>
            <a:r>
              <a:rPr lang="sv-SE" dirty="0" smtClean="0"/>
              <a:t> </a:t>
            </a:r>
            <a:r>
              <a:rPr lang="sv-SE" dirty="0" err="1" smtClean="0"/>
              <a:t>other</a:t>
            </a:r>
            <a:r>
              <a:rPr lang="sv-SE" dirty="0" smtClean="0"/>
              <a:t> </a:t>
            </a:r>
            <a:r>
              <a:rPr lang="sv-SE" dirty="0" err="1" smtClean="0"/>
              <a:t>storage</a:t>
            </a:r>
            <a:r>
              <a:rPr lang="sv-SE" dirty="0" smtClean="0"/>
              <a:t> solutions </a:t>
            </a:r>
            <a:r>
              <a:rPr lang="sv-SE" dirty="0" err="1" smtClean="0"/>
              <a:t>you</a:t>
            </a:r>
            <a:r>
              <a:rPr lang="sv-SE" dirty="0" smtClean="0"/>
              <a:t> </a:t>
            </a:r>
            <a:r>
              <a:rPr lang="sv-SE" dirty="0" err="1" smtClean="0"/>
              <a:t>can</a:t>
            </a:r>
            <a:r>
              <a:rPr lang="sv-SE" dirty="0" smtClean="0"/>
              <a:t> </a:t>
            </a:r>
            <a:r>
              <a:rPr lang="sv-SE" dirty="0" err="1" smtClean="0"/>
              <a:t>run</a:t>
            </a:r>
            <a:r>
              <a:rPr lang="sv-SE" dirty="0" smtClean="0"/>
              <a:t> in Azure.</a:t>
            </a:r>
            <a:r>
              <a:rPr lang="sv-SE" baseline="0" dirty="0" smtClean="0"/>
              <a:t> </a:t>
            </a:r>
            <a:r>
              <a:rPr lang="sv-SE" baseline="0" dirty="0" err="1" smtClean="0"/>
              <a:t>One</a:t>
            </a:r>
            <a:r>
              <a:rPr lang="sv-SE" baseline="0" dirty="0" smtClean="0"/>
              <a:t> </a:t>
            </a:r>
            <a:r>
              <a:rPr lang="sv-SE" baseline="0" dirty="0" err="1" smtClean="0"/>
              <a:t>such</a:t>
            </a:r>
            <a:r>
              <a:rPr lang="sv-SE" baseline="0" dirty="0" smtClean="0"/>
              <a:t> is </a:t>
            </a:r>
            <a:r>
              <a:rPr lang="sv-SE" baseline="0" dirty="0" err="1" smtClean="0"/>
              <a:t>MongdoDB</a:t>
            </a:r>
            <a:r>
              <a:rPr lang="sv-SE" baseline="0" dirty="0" smtClean="0"/>
              <a:t> </a:t>
            </a:r>
            <a:r>
              <a:rPr lang="sv-SE" baseline="0" dirty="0" err="1" smtClean="0"/>
              <a:t>which</a:t>
            </a:r>
            <a:r>
              <a:rPr lang="sv-SE" baseline="0" dirty="0" smtClean="0"/>
              <a:t> has </a:t>
            </a:r>
            <a:r>
              <a:rPr lang="sv-SE" baseline="0" dirty="0" err="1" smtClean="0"/>
              <a:t>been</a:t>
            </a:r>
            <a:r>
              <a:rPr lang="sv-SE" baseline="0" dirty="0" smtClean="0"/>
              <a:t> </a:t>
            </a:r>
            <a:r>
              <a:rPr lang="sv-SE" baseline="0" dirty="0" err="1" smtClean="0"/>
              <a:t>possible</a:t>
            </a:r>
            <a:r>
              <a:rPr lang="sv-SE" baseline="0" dirty="0" smtClean="0"/>
              <a:t> to </a:t>
            </a:r>
            <a:r>
              <a:rPr lang="sv-SE" baseline="0" dirty="0" err="1" smtClean="0"/>
              <a:t>run</a:t>
            </a:r>
            <a:r>
              <a:rPr lang="sv-SE" baseline="0" dirty="0" smtClean="0"/>
              <a:t> as a </a:t>
            </a:r>
            <a:r>
              <a:rPr lang="sv-SE" baseline="0" dirty="0" err="1" smtClean="0"/>
              <a:t>document</a:t>
            </a:r>
            <a:r>
              <a:rPr lang="sv-SE" baseline="0" dirty="0" smtClean="0"/>
              <a:t> </a:t>
            </a:r>
            <a:r>
              <a:rPr lang="sv-SE" baseline="0" dirty="0" err="1" smtClean="0"/>
              <a:t>database</a:t>
            </a:r>
            <a:r>
              <a:rPr lang="sv-SE" baseline="0" dirty="0" smtClean="0"/>
              <a:t> in Azure for a long </a:t>
            </a:r>
            <a:r>
              <a:rPr lang="sv-SE" baseline="0" dirty="0" err="1" smtClean="0"/>
              <a:t>time</a:t>
            </a:r>
            <a:r>
              <a:rPr lang="sv-SE" baseline="0" dirty="0" smtClean="0"/>
              <a:t>. </a:t>
            </a:r>
            <a:r>
              <a:rPr lang="sv-SE" baseline="0" dirty="0" err="1" smtClean="0"/>
              <a:t>How</a:t>
            </a:r>
            <a:r>
              <a:rPr lang="sv-SE" baseline="0" dirty="0" smtClean="0"/>
              <a:t> </a:t>
            </a:r>
            <a:r>
              <a:rPr lang="sv-SE" baseline="0" dirty="0" err="1" smtClean="0"/>
              <a:t>does</a:t>
            </a:r>
            <a:r>
              <a:rPr lang="sv-SE" baseline="0" dirty="0" smtClean="0"/>
              <a:t> it </a:t>
            </a:r>
            <a:r>
              <a:rPr lang="sv-SE" baseline="0" dirty="0" err="1" smtClean="0"/>
              <a:t>compare</a:t>
            </a:r>
            <a:r>
              <a:rPr lang="sv-SE" baseline="0" dirty="0" smtClean="0"/>
              <a:t> </a:t>
            </a:r>
            <a:r>
              <a:rPr lang="sv-SE" baseline="0" dirty="0" err="1" smtClean="0"/>
              <a:t>with</a:t>
            </a:r>
            <a:r>
              <a:rPr lang="sv-SE" baseline="0" dirty="0" smtClean="0"/>
              <a:t> DocumentDB?</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20919153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igurable consistency to trade off consistency and performance.</a:t>
            </a:r>
          </a:p>
          <a:p>
            <a:r>
              <a:rPr lang="en-US" dirty="0" smtClean="0"/>
              <a:t>Database Accounts are configured with a default consistency level. </a:t>
            </a:r>
          </a:p>
          <a:p>
            <a:r>
              <a:rPr lang="en-US" dirty="0" smtClean="0"/>
              <a:t>Consistency level can be weakened per read/query request.</a:t>
            </a:r>
          </a:p>
        </p:txBody>
      </p:sp>
      <p:sp>
        <p:nvSpPr>
          <p:cNvPr id="4" name="Slide Number Placeholder 3"/>
          <p:cNvSpPr>
            <a:spLocks noGrp="1"/>
          </p:cNvSpPr>
          <p:nvPr>
            <p:ph type="sldNum" sz="quarter" idx="10"/>
          </p:nvPr>
        </p:nvSpPr>
        <p:spPr/>
        <p:txBody>
          <a:bodyPr/>
          <a:lstStyle/>
          <a:p>
            <a:fld id="{2C52CFDC-D2D5-4B9F-BA75-89F771E01AEB}" type="slidenum">
              <a:rPr lang="en-US" smtClean="0"/>
              <a:t>69</a:t>
            </a:fld>
            <a:endParaRPr lang="en-US"/>
          </a:p>
        </p:txBody>
      </p:sp>
    </p:spTree>
    <p:extLst>
      <p:ext uri="{BB962C8B-B14F-4D97-AF65-F5344CB8AC3E}">
        <p14:creationId xmlns:p14="http://schemas.microsoft.com/office/powerpoint/2010/main" val="5613181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val="12055952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6</a:t>
            </a:fld>
            <a:endParaRPr lang="en-US">
              <a:solidFill>
                <a:prstClr val="black"/>
              </a:solidFill>
            </a:endParaRPr>
          </a:p>
        </p:txBody>
      </p:sp>
    </p:spTree>
    <p:extLst>
      <p:ext uri="{BB962C8B-B14F-4D97-AF65-F5344CB8AC3E}">
        <p14:creationId xmlns:p14="http://schemas.microsoft.com/office/powerpoint/2010/main" val="31570681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Preview</a:t>
            </a:r>
            <a:r>
              <a:rPr lang="en-US" baseline="0" dirty="0" smtClean="0"/>
              <a:t> Management </a:t>
            </a:r>
            <a:r>
              <a:rPr lang="en-US" dirty="0" smtClean="0"/>
              <a:t>Portal to create a new databas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394364997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ime</a:t>
            </a:r>
            <a:r>
              <a:rPr lang="sv-SE" dirty="0" smtClean="0"/>
              <a:t> for the </a:t>
            </a:r>
            <a:r>
              <a:rPr lang="sv-SE" baseline="0" dirty="0" smtClean="0"/>
              <a:t>Microsoft Azure </a:t>
            </a:r>
            <a:r>
              <a:rPr lang="sv-SE" baseline="0" dirty="0" err="1" smtClean="0"/>
              <a:t>Search</a:t>
            </a:r>
            <a:r>
              <a:rPr lang="sv-SE" baseline="0" dirty="0" smtClean="0"/>
              <a:t> as a Service </a:t>
            </a:r>
            <a:r>
              <a:rPr lang="sv-SE" baseline="0" dirty="0" err="1" smtClean="0"/>
              <a:t>offering</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80</a:t>
            </a:fld>
            <a:endParaRPr lang="en-US">
              <a:solidFill>
                <a:prstClr val="black"/>
              </a:solidFill>
            </a:endParaRPr>
          </a:p>
        </p:txBody>
      </p:sp>
    </p:spTree>
    <p:extLst>
      <p:ext uri="{BB962C8B-B14F-4D97-AF65-F5344CB8AC3E}">
        <p14:creationId xmlns:p14="http://schemas.microsoft.com/office/powerpoint/2010/main" val="1515893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2</a:t>
            </a:fld>
            <a:endParaRPr lang="en-US"/>
          </a:p>
        </p:txBody>
      </p:sp>
    </p:spTree>
    <p:extLst>
      <p:ext uri="{BB962C8B-B14F-4D97-AF65-F5344CB8AC3E}">
        <p14:creationId xmlns:p14="http://schemas.microsoft.com/office/powerpoint/2010/main" val="35065666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3</a:t>
            </a:fld>
            <a:endParaRPr lang="en-US"/>
          </a:p>
        </p:txBody>
      </p:sp>
    </p:spTree>
    <p:extLst>
      <p:ext uri="{BB962C8B-B14F-4D97-AF65-F5344CB8AC3E}">
        <p14:creationId xmlns:p14="http://schemas.microsoft.com/office/powerpoint/2010/main" val="14581728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4</a:t>
            </a:fld>
            <a:endParaRPr lang="en-US"/>
          </a:p>
        </p:txBody>
      </p:sp>
    </p:spTree>
    <p:extLst>
      <p:ext uri="{BB962C8B-B14F-4D97-AF65-F5344CB8AC3E}">
        <p14:creationId xmlns:p14="http://schemas.microsoft.com/office/powerpoint/2010/main" val="12105298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5</a:t>
            </a:fld>
            <a:endParaRPr lang="en-US"/>
          </a:p>
        </p:txBody>
      </p:sp>
    </p:spTree>
    <p:extLst>
      <p:ext uri="{BB962C8B-B14F-4D97-AF65-F5344CB8AC3E}">
        <p14:creationId xmlns:p14="http://schemas.microsoft.com/office/powerpoint/2010/main" val="41261604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30706843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Customers buy one or more “search units”.</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Users control availability-cost trade-off by using more or less replicas</a:t>
            </a:r>
          </a:p>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p>
          <a:p>
            <a:pPr marL="171450" lvl="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earch units stack horizontally and vertically</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Must be a rectangular arrange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9</a:t>
            </a:fld>
            <a:endParaRPr lang="en-US">
              <a:solidFill>
                <a:prstClr val="black"/>
              </a:solidFill>
            </a:endParaRPr>
          </a:p>
        </p:txBody>
      </p:sp>
    </p:spTree>
    <p:extLst>
      <p:ext uri="{BB962C8B-B14F-4D97-AF65-F5344CB8AC3E}">
        <p14:creationId xmlns:p14="http://schemas.microsoft.com/office/powerpoint/2010/main" val="250554998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r>
              <a:rPr lang="sv-SE" sz="600" kern="1200" dirty="0" smtClean="0">
                <a:solidFill>
                  <a:schemeClr val="bg1"/>
                </a:solidFill>
                <a:latin typeface="+mn-lt"/>
                <a:ea typeface="+mn-ea"/>
                <a:cs typeface="+mn-cs"/>
              </a:rPr>
              <a:t>)</a:t>
            </a:r>
            <a:endParaRPr lang="en-US" sz="600" kern="1200" dirty="0" smtClean="0">
              <a:solidFill>
                <a:schemeClr val="bg1"/>
              </a:solidFill>
              <a:latin typeface="+mn-lt"/>
              <a:ea typeface="+mn-ea"/>
              <a:cs typeface="+mn-cs"/>
            </a:endParaRP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Document count – 15MM</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torage size – 25GB</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Query performance – 15QPS</a:t>
            </a:r>
          </a:p>
          <a:p>
            <a:pPr marL="0" lvl="0" indent="0">
              <a:spcBef>
                <a:spcPts val="0"/>
              </a:spcBef>
              <a:spcAft>
                <a:spcPts val="0"/>
              </a:spcAft>
              <a:buFont typeface="Arial" panose="020B0604020202020204" pitchFamily="34" charset="0"/>
              <a:buNone/>
            </a:pPr>
            <a:r>
              <a:rPr lang="en-US" sz="600" kern="1200" dirty="0" err="1" smtClean="0">
                <a:solidFill>
                  <a:schemeClr val="bg1"/>
                </a:solidFill>
                <a:latin typeface="+mn-lt"/>
                <a:ea typeface="+mn-ea"/>
                <a:cs typeface="+mn-cs"/>
              </a:rPr>
              <a:t>Pice</a:t>
            </a:r>
            <a:r>
              <a:rPr lang="en-US" sz="600" kern="1200" dirty="0" smtClean="0">
                <a:solidFill>
                  <a:schemeClr val="bg1"/>
                </a:solidFill>
                <a:latin typeface="+mn-lt"/>
                <a:ea typeface="+mn-ea"/>
                <a:cs typeface="+mn-cs"/>
              </a:rPr>
              <a:t>: $250 per unit (at GA) per month</a:t>
            </a:r>
          </a:p>
          <a:p>
            <a:pPr marL="0">
              <a:spcBef>
                <a:spcPts val="0"/>
              </a:spcBef>
              <a:spcAft>
                <a:spcPts val="0"/>
              </a:spcAft>
            </a:pPr>
            <a:r>
              <a:rPr lang="en-US" sz="600" kern="1200" dirty="0" smtClean="0">
                <a:solidFill>
                  <a:schemeClr val="bg1"/>
                </a:solidFill>
                <a:latin typeface="+mn-lt"/>
                <a:ea typeface="+mn-ea"/>
                <a:cs typeface="+mn-cs"/>
              </a:rPr>
              <a:t>This is cost competitive</a:t>
            </a:r>
          </a:p>
          <a:p>
            <a:pPr marL="0">
              <a:spcBef>
                <a:spcPts val="0"/>
              </a:spcBef>
              <a:spcAft>
                <a:spcPts val="0"/>
              </a:spcAft>
            </a:pPr>
            <a:r>
              <a:rPr lang="en-US" sz="600" kern="1200" dirty="0" smtClean="0">
                <a:solidFill>
                  <a:schemeClr val="bg1"/>
                </a:solidFill>
                <a:latin typeface="+mn-lt"/>
                <a:ea typeface="+mn-ea"/>
                <a:cs typeface="+mn-cs"/>
              </a:rPr>
              <a:t>Free Tier for a sandbox environ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90</a:t>
            </a:fld>
            <a:endParaRPr lang="en-US">
              <a:solidFill>
                <a:prstClr val="black"/>
              </a:solidFill>
            </a:endParaRPr>
          </a:p>
        </p:txBody>
      </p:sp>
    </p:spTree>
    <p:extLst>
      <p:ext uri="{BB962C8B-B14F-4D97-AF65-F5344CB8AC3E}">
        <p14:creationId xmlns:p14="http://schemas.microsoft.com/office/powerpoint/2010/main" val="415465322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ollowing slides is a walk through of the basic features of</a:t>
            </a:r>
            <a:r>
              <a:rPr lang="en-US" baseline="0" dirty="0" smtClean="0"/>
              <a:t> Azure Search.</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1</a:t>
            </a:fld>
            <a:endParaRPr lang="en-US">
              <a:solidFill>
                <a:prstClr val="black"/>
              </a:solidFill>
            </a:endParaRPr>
          </a:p>
        </p:txBody>
      </p:sp>
    </p:spTree>
    <p:extLst>
      <p:ext uri="{BB962C8B-B14F-4D97-AF65-F5344CB8AC3E}">
        <p14:creationId xmlns:p14="http://schemas.microsoft.com/office/powerpoint/2010/main" val="41834472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In the Azure Portal</a:t>
            </a:r>
            <a:r>
              <a:rPr lang="sv-SE" baseline="0" dirty="0" smtClean="0"/>
              <a:t> </a:t>
            </a:r>
            <a:r>
              <a:rPr lang="sv-SE" baseline="0" dirty="0" err="1" smtClean="0"/>
              <a:t>choose</a:t>
            </a:r>
            <a:r>
              <a:rPr lang="sv-SE" baseline="0" dirty="0" smtClean="0"/>
              <a:t> ”new +” -&gt; ”</a:t>
            </a:r>
            <a:r>
              <a:rPr lang="sv-SE" baseline="0" dirty="0" err="1" smtClean="0"/>
              <a:t>Search</a:t>
            </a:r>
            <a:r>
              <a:rPr lang="sv-SE" baseline="0" dirty="0" smtClean="0"/>
              <a:t>”.</a:t>
            </a:r>
          </a:p>
          <a:p>
            <a:r>
              <a:rPr lang="sv-SE" dirty="0" err="1" smtClean="0"/>
              <a:t>Pricing</a:t>
            </a:r>
            <a:r>
              <a:rPr lang="sv-SE" baseline="0" dirty="0" smtClean="0"/>
              <a:t> </a:t>
            </a:r>
            <a:r>
              <a:rPr lang="sv-SE" baseline="0" dirty="0" err="1" smtClean="0"/>
              <a:t>tier</a:t>
            </a:r>
            <a:r>
              <a:rPr lang="sv-SE" baseline="0" dirty="0" smtClean="0"/>
              <a:t> is </a:t>
            </a:r>
            <a:r>
              <a:rPr lang="sv-SE" baseline="0" dirty="0" err="1" smtClean="0"/>
              <a:t>either</a:t>
            </a:r>
            <a:r>
              <a:rPr lang="sv-SE" baseline="0" dirty="0" smtClean="0"/>
              <a:t> Standard or </a:t>
            </a:r>
            <a:r>
              <a:rPr lang="sv-SE" baseline="0" dirty="0" err="1" smtClean="0"/>
              <a:t>Free</a:t>
            </a:r>
            <a:r>
              <a:rPr lang="sv-SE" baseline="0" dirty="0" smtClean="0"/>
              <a:t> </a:t>
            </a:r>
            <a:r>
              <a:rPr lang="sv-SE" baseline="0" dirty="0" err="1" smtClean="0"/>
              <a:t>where</a:t>
            </a:r>
            <a:r>
              <a:rPr lang="sv-SE" baseline="0" dirty="0" smtClean="0"/>
              <a:t> the </a:t>
            </a:r>
            <a:r>
              <a:rPr lang="sv-SE" baseline="0" dirty="0" err="1" smtClean="0"/>
              <a:t>latter</a:t>
            </a:r>
            <a:r>
              <a:rPr lang="sv-SE" baseline="0" dirty="0" smtClean="0"/>
              <a:t> </a:t>
            </a:r>
            <a:r>
              <a:rPr lang="sv-SE" baseline="0" dirty="0" err="1" smtClean="0"/>
              <a:t>naturally</a:t>
            </a:r>
            <a:r>
              <a:rPr lang="sv-SE" baseline="0" dirty="0" smtClean="0"/>
              <a:t> is </a:t>
            </a:r>
            <a:r>
              <a:rPr lang="sv-SE" baseline="0" dirty="0" err="1" smtClean="0"/>
              <a:t>useful</a:t>
            </a:r>
            <a:r>
              <a:rPr lang="sv-SE" baseline="0" dirty="0" smtClean="0"/>
              <a:t> for </a:t>
            </a:r>
            <a:r>
              <a:rPr lang="sv-SE" baseline="0" dirty="0" err="1" smtClean="0"/>
              <a:t>functional</a:t>
            </a:r>
            <a:r>
              <a:rPr lang="sv-SE" baseline="0" dirty="0" smtClean="0"/>
              <a:t> </a:t>
            </a:r>
            <a:r>
              <a:rPr lang="sv-SE" baseline="0" dirty="0" err="1" smtClean="0"/>
              <a:t>development</a:t>
            </a:r>
            <a:r>
              <a:rPr lang="sv-SE" baseline="0" dirty="0" smtClean="0"/>
              <a:t> tests.</a:t>
            </a:r>
            <a:endParaRPr lang="sv-SE" dirty="0"/>
          </a:p>
        </p:txBody>
      </p:sp>
      <p:sp>
        <p:nvSpPr>
          <p:cNvPr id="4" name="Slide Number Placeholder 3"/>
          <p:cNvSpPr>
            <a:spLocks noGrp="1"/>
          </p:cNvSpPr>
          <p:nvPr>
            <p:ph type="sldNum" sz="quarter" idx="10"/>
          </p:nvPr>
        </p:nvSpPr>
        <p:spPr/>
        <p:txBody>
          <a:bodyPr/>
          <a:lstStyle/>
          <a:p>
            <a:fld id="{2C52CFDC-D2D5-4B9F-BA75-89F771E01AEB}" type="slidenum">
              <a:rPr lang="en-US" smtClean="0"/>
              <a:t>92</a:t>
            </a:fld>
            <a:endParaRPr lang="en-US"/>
          </a:p>
        </p:txBody>
      </p:sp>
    </p:spTree>
    <p:extLst>
      <p:ext uri="{BB962C8B-B14F-4D97-AF65-F5344CB8AC3E}">
        <p14:creationId xmlns:p14="http://schemas.microsoft.com/office/powerpoint/2010/main" val="25113383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Pick a location for</a:t>
            </a:r>
            <a:r>
              <a:rPr lang="en-US" baseline="0" noProof="0" dirty="0" smtClean="0"/>
              <a:t> the service.</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93</a:t>
            </a:fld>
            <a:endParaRPr lang="en-US"/>
          </a:p>
        </p:txBody>
      </p:sp>
    </p:spTree>
    <p:extLst>
      <p:ext uri="{BB962C8B-B14F-4D97-AF65-F5344CB8AC3E}">
        <p14:creationId xmlns:p14="http://schemas.microsoft.com/office/powerpoint/2010/main" val="1810379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err="1" smtClean="0"/>
              <a:t>Hadoop</a:t>
            </a:r>
            <a:r>
              <a:rPr lang="sv-SE" baseline="0" dirty="0" smtClean="0"/>
              <a:t> in Azure </a:t>
            </a:r>
            <a:r>
              <a:rPr lang="sv-SE" baseline="0" dirty="0" err="1" smtClean="0"/>
              <a:t>known</a:t>
            </a:r>
            <a:r>
              <a:rPr lang="sv-SE" baseline="0" dirty="0" smtClean="0"/>
              <a:t> as Microsoft Azure </a:t>
            </a:r>
            <a:r>
              <a:rPr lang="sv-SE" baseline="0" dirty="0" err="1" smtClean="0"/>
              <a:t>HDInsight</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6</a:t>
            </a:fld>
            <a:endParaRPr lang="en-US">
              <a:solidFill>
                <a:prstClr val="black"/>
              </a:solidFill>
            </a:endParaRPr>
          </a:p>
        </p:txBody>
      </p:sp>
    </p:spTree>
    <p:extLst>
      <p:ext uri="{BB962C8B-B14F-4D97-AF65-F5344CB8AC3E}">
        <p14:creationId xmlns:p14="http://schemas.microsoft.com/office/powerpoint/2010/main" val="23516874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8</a:t>
            </a:fld>
            <a:endParaRPr lang="zh-CN" altLang="en-US">
              <a:solidFill>
                <a:prstClr val="black"/>
              </a:solidFill>
            </a:endParaRPr>
          </a:p>
        </p:txBody>
      </p:sp>
    </p:spTree>
    <p:extLst>
      <p:ext uri="{BB962C8B-B14F-4D97-AF65-F5344CB8AC3E}">
        <p14:creationId xmlns:p14="http://schemas.microsoft.com/office/powerpoint/2010/main" val="33444785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9</a:t>
            </a:fld>
            <a:endParaRPr lang="zh-CN" altLang="en-US">
              <a:solidFill>
                <a:prstClr val="black"/>
              </a:solidFill>
            </a:endParaRPr>
          </a:p>
        </p:txBody>
      </p:sp>
    </p:spTree>
    <p:extLst>
      <p:ext uri="{BB962C8B-B14F-4D97-AF65-F5344CB8AC3E}">
        <p14:creationId xmlns:p14="http://schemas.microsoft.com/office/powerpoint/2010/main" val="112042214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28470214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419986502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6</a:t>
            </a:fld>
            <a:endParaRPr lang="en-US" dirty="0">
              <a:solidFill>
                <a:prstClr val="black"/>
              </a:solidFill>
            </a:endParaRPr>
          </a:p>
        </p:txBody>
      </p:sp>
    </p:spTree>
    <p:extLst>
      <p:ext uri="{BB962C8B-B14F-4D97-AF65-F5344CB8AC3E}">
        <p14:creationId xmlns:p14="http://schemas.microsoft.com/office/powerpoint/2010/main" val="2226957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79464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SQL </a:t>
            </a:r>
            <a:r>
              <a:rPr lang="sv-SE" dirty="0" err="1" smtClean="0"/>
              <a:t>Database</a:t>
            </a:r>
            <a:r>
              <a:rPr lang="sv-SE" dirty="0" smtClean="0"/>
              <a:t> </a:t>
            </a:r>
            <a:r>
              <a:rPr lang="sv-SE" dirty="0" err="1" smtClean="0"/>
              <a:t>extra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8</a:t>
            </a:fld>
            <a:endParaRPr lang="en-US"/>
          </a:p>
        </p:txBody>
      </p:sp>
    </p:spTree>
    <p:extLst>
      <p:ext uri="{BB962C8B-B14F-4D97-AF65-F5344CB8AC3E}">
        <p14:creationId xmlns:p14="http://schemas.microsoft.com/office/powerpoint/2010/main" val="91307225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16</a:t>
            </a:fld>
            <a:endParaRPr lang="en-US">
              <a:solidFill>
                <a:prstClr val="black"/>
              </a:solidFill>
            </a:endParaRPr>
          </a:p>
        </p:txBody>
      </p:sp>
    </p:spTree>
    <p:extLst>
      <p:ext uri="{BB962C8B-B14F-4D97-AF65-F5344CB8AC3E}">
        <p14:creationId xmlns:p14="http://schemas.microsoft.com/office/powerpoint/2010/main" val="249043228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29555024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8</a:t>
            </a:fld>
            <a:endParaRPr lang="en-US" dirty="0"/>
          </a:p>
        </p:txBody>
      </p:sp>
    </p:spTree>
    <p:extLst>
      <p:ext uri="{BB962C8B-B14F-4D97-AF65-F5344CB8AC3E}">
        <p14:creationId xmlns:p14="http://schemas.microsoft.com/office/powerpoint/2010/main" val="401115518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9</a:t>
            </a:fld>
            <a:endParaRPr lang="en-US" dirty="0"/>
          </a:p>
        </p:txBody>
      </p:sp>
    </p:spTree>
    <p:extLst>
      <p:ext uri="{BB962C8B-B14F-4D97-AF65-F5344CB8AC3E}">
        <p14:creationId xmlns:p14="http://schemas.microsoft.com/office/powerpoint/2010/main" val="39745882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0</a:t>
            </a:fld>
            <a:endParaRPr lang="en-US" dirty="0"/>
          </a:p>
        </p:txBody>
      </p:sp>
    </p:spTree>
    <p:extLst>
      <p:ext uri="{BB962C8B-B14F-4D97-AF65-F5344CB8AC3E}">
        <p14:creationId xmlns:p14="http://schemas.microsoft.com/office/powerpoint/2010/main" val="35632130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1</a:t>
            </a:fld>
            <a:endParaRPr lang="en-US" dirty="0"/>
          </a:p>
        </p:txBody>
      </p:sp>
    </p:spTree>
    <p:extLst>
      <p:ext uri="{BB962C8B-B14F-4D97-AF65-F5344CB8AC3E}">
        <p14:creationId xmlns:p14="http://schemas.microsoft.com/office/powerpoint/2010/main" val="8613650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2</a:t>
            </a:fld>
            <a:endParaRPr lang="en-US" dirty="0"/>
          </a:p>
        </p:txBody>
      </p:sp>
    </p:spTree>
    <p:extLst>
      <p:ext uri="{BB962C8B-B14F-4D97-AF65-F5344CB8AC3E}">
        <p14:creationId xmlns:p14="http://schemas.microsoft.com/office/powerpoint/2010/main" val="358422834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123</a:t>
            </a:fld>
            <a:endParaRPr lang="en-US"/>
          </a:p>
        </p:txBody>
      </p:sp>
    </p:spTree>
    <p:extLst>
      <p:ext uri="{BB962C8B-B14F-4D97-AF65-F5344CB8AC3E}">
        <p14:creationId xmlns:p14="http://schemas.microsoft.com/office/powerpoint/2010/main" val="41316646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Elastic</a:t>
            </a:r>
            <a:r>
              <a:rPr lang="sv-SE" dirty="0" smtClean="0"/>
              <a:t> </a:t>
            </a:r>
            <a:r>
              <a:rPr lang="sv-SE" dirty="0" err="1" smtClean="0"/>
              <a:t>Scale</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4</a:t>
            </a:fld>
            <a:endParaRPr lang="en-US"/>
          </a:p>
        </p:txBody>
      </p:sp>
    </p:spTree>
    <p:extLst>
      <p:ext uri="{BB962C8B-B14F-4D97-AF65-F5344CB8AC3E}">
        <p14:creationId xmlns:p14="http://schemas.microsoft.com/office/powerpoint/2010/main" val="3489092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7</a:t>
            </a:fld>
            <a:endParaRPr lang="en-US" dirty="0">
              <a:solidFill>
                <a:prstClr val="black"/>
              </a:solidFill>
            </a:endParaRPr>
          </a:p>
        </p:txBody>
      </p:sp>
    </p:spTree>
    <p:extLst>
      <p:ext uri="{BB962C8B-B14F-4D97-AF65-F5344CB8AC3E}">
        <p14:creationId xmlns:p14="http://schemas.microsoft.com/office/powerpoint/2010/main" val="6744967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39</a:t>
            </a:fld>
            <a:endParaRPr lang="en-US">
              <a:solidFill>
                <a:prstClr val="black"/>
              </a:solidFill>
            </a:endParaRPr>
          </a:p>
        </p:txBody>
      </p:sp>
    </p:spTree>
    <p:extLst>
      <p:ext uri="{BB962C8B-B14F-4D97-AF65-F5344CB8AC3E}">
        <p14:creationId xmlns:p14="http://schemas.microsoft.com/office/powerpoint/2010/main" val="137517050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46</a:t>
            </a:fld>
            <a:endParaRPr lang="en-US">
              <a:solidFill>
                <a:prstClr val="black"/>
              </a:solidFill>
            </a:endParaRPr>
          </a:p>
        </p:txBody>
      </p:sp>
    </p:spTree>
    <p:extLst>
      <p:ext uri="{BB962C8B-B14F-4D97-AF65-F5344CB8AC3E}">
        <p14:creationId xmlns:p14="http://schemas.microsoft.com/office/powerpoint/2010/main" val="5647573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zure</a:t>
            </a:r>
            <a:r>
              <a:rPr lang="sv-SE" baseline="0" dirty="0" smtClean="0"/>
              <a:t> </a:t>
            </a:r>
            <a:r>
              <a:rPr lang="sv-SE" baseline="0" dirty="0" err="1" smtClean="0"/>
              <a:t>Search</a:t>
            </a:r>
            <a:r>
              <a:rPr lang="sv-SE" baseline="0" dirty="0" smtClean="0"/>
              <a:t> </a:t>
            </a:r>
            <a:r>
              <a:rPr lang="sv-SE" baseline="0" dirty="0" err="1" smtClean="0"/>
              <a:t>slides</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7</a:t>
            </a:fld>
            <a:endParaRPr lang="en-US"/>
          </a:p>
        </p:txBody>
      </p:sp>
    </p:spTree>
    <p:extLst>
      <p:ext uri="{BB962C8B-B14F-4D97-AF65-F5344CB8AC3E}">
        <p14:creationId xmlns:p14="http://schemas.microsoft.com/office/powerpoint/2010/main" val="24864860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48</a:t>
            </a:fld>
            <a:endParaRPr lang="en-US">
              <a:solidFill>
                <a:prstClr val="black"/>
              </a:solidFill>
            </a:endParaRPr>
          </a:p>
        </p:txBody>
      </p:sp>
    </p:spTree>
    <p:extLst>
      <p:ext uri="{BB962C8B-B14F-4D97-AF65-F5344CB8AC3E}">
        <p14:creationId xmlns:p14="http://schemas.microsoft.com/office/powerpoint/2010/main" val="381734523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0</a:t>
            </a:fld>
            <a:endParaRPr lang="en-US">
              <a:solidFill>
                <a:prstClr val="black"/>
              </a:solidFill>
            </a:endParaRPr>
          </a:p>
        </p:txBody>
      </p:sp>
    </p:spTree>
    <p:extLst>
      <p:ext uri="{BB962C8B-B14F-4D97-AF65-F5344CB8AC3E}">
        <p14:creationId xmlns:p14="http://schemas.microsoft.com/office/powerpoint/2010/main" val="301273979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1</a:t>
            </a:fld>
            <a:endParaRPr lang="en-US">
              <a:solidFill>
                <a:prstClr val="black"/>
              </a:solidFill>
            </a:endParaRPr>
          </a:p>
        </p:txBody>
      </p:sp>
    </p:spTree>
    <p:extLst>
      <p:ext uri="{BB962C8B-B14F-4D97-AF65-F5344CB8AC3E}">
        <p14:creationId xmlns:p14="http://schemas.microsoft.com/office/powerpoint/2010/main" val="316776196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2</a:t>
            </a:fld>
            <a:endParaRPr lang="en-US">
              <a:solidFill>
                <a:prstClr val="black"/>
              </a:solidFill>
            </a:endParaRPr>
          </a:p>
        </p:txBody>
      </p:sp>
    </p:spTree>
    <p:extLst>
      <p:ext uri="{BB962C8B-B14F-4D97-AF65-F5344CB8AC3E}">
        <p14:creationId xmlns:p14="http://schemas.microsoft.com/office/powerpoint/2010/main" val="15500015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53</a:t>
            </a:fld>
            <a:endParaRPr lang="en-US">
              <a:solidFill>
                <a:prstClr val="black"/>
              </a:solidFill>
            </a:endParaRPr>
          </a:p>
        </p:txBody>
      </p:sp>
    </p:spTree>
    <p:extLst>
      <p:ext uri="{BB962C8B-B14F-4D97-AF65-F5344CB8AC3E}">
        <p14:creationId xmlns:p14="http://schemas.microsoft.com/office/powerpoint/2010/main" val="4330348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Document</a:t>
            </a:r>
            <a:r>
              <a:rPr lang="sv-SE" baseline="0" dirty="0" smtClean="0"/>
              <a:t>DB </a:t>
            </a:r>
            <a:r>
              <a:rPr lang="sv-SE" baseline="0" dirty="0" err="1" smtClean="0"/>
              <a:t>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3</a:t>
            </a:fld>
            <a:endParaRPr lang="en-US"/>
          </a:p>
        </p:txBody>
      </p:sp>
    </p:spTree>
    <p:extLst>
      <p:ext uri="{BB962C8B-B14F-4D97-AF65-F5344CB8AC3E}">
        <p14:creationId xmlns:p14="http://schemas.microsoft.com/office/powerpoint/2010/main" val="31967575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1-20</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1-20</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321841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118672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smtClean="0">
                <a:solidFill>
                  <a:prstClr val="black">
                    <a:tint val="75000"/>
                  </a:prstClr>
                </a:solidFill>
              </a:rPr>
              <a:pPr/>
              <a:t>1/20/2015</a:t>
            </a:fld>
            <a:endParaRPr lang="en-US">
              <a:solidFill>
                <a:prstClr val="black">
                  <a:tint val="75000"/>
                </a:prstClr>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1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92510749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5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2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40"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64"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88"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12"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36"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60"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20/2015</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0/2015</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97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4.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8.xml"/><Relationship Id="rId2" Type="http://schemas.openxmlformats.org/officeDocument/2006/relationships/slideLayout" Target="../slideLayouts/slideLayout56.xml"/><Relationship Id="rId16" Type="http://schemas.openxmlformats.org/officeDocument/2006/relationships/image" Target="../media/image5.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vmlDrawing" Target="../drawings/vmlDrawing5.vml"/><Relationship Id="rId5" Type="http://schemas.openxmlformats.org/officeDocument/2006/relationships/slideLayout" Target="../slideLayouts/slideLayout59.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6.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theme" Target="../theme/theme7.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 id="2147483839" r:id="rId25"/>
    <p:sldLayoutId id="2147483840" r:id="rId26"/>
    <p:sldLayoutId id="2147483847" r:id="rId27"/>
    <p:sldLayoutId id="2147483879" r:id="rId28"/>
    <p:sldLayoutId id="2147483880" r:id="rId29"/>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16"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878" r:id="rId9"/>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0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1.xml"/><Relationship Id="rId7" Type="http://schemas.openxmlformats.org/officeDocument/2006/relationships/image" Target="../media/image47.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2.bin"/><Relationship Id="rId10" Type="http://schemas.openxmlformats.org/officeDocument/2006/relationships/image" Target="../media/image46.emf"/><Relationship Id="rId4" Type="http://schemas.openxmlformats.org/officeDocument/2006/relationships/notesSlide" Target="../notesSlides/notesSlide73.xml"/><Relationship Id="rId9" Type="http://schemas.microsoft.com/office/2007/relationships/hdphoto" Target="../media/hdphoto5.wdp"/></Relationships>
</file>

<file path=ppt/slides/_rels/slide101.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74.xml"/><Relationship Id="rId4" Type="http://schemas.openxmlformats.org/officeDocument/2006/relationships/slideLayout" Target="../slideLayouts/slideLayout21.xml"/></Relationships>
</file>

<file path=ppt/slides/_rels/slide10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oleObject" Target="../embeddings/oleObject14.bin"/><Relationship Id="rId5" Type="http://schemas.openxmlformats.org/officeDocument/2006/relationships/notesSlide" Target="../notesSlides/notesSlide75.xml"/><Relationship Id="rId4" Type="http://schemas.openxmlformats.org/officeDocument/2006/relationships/slideLayout" Target="../slideLayouts/slideLayout21.xml"/><Relationship Id="rId9" Type="http://schemas.openxmlformats.org/officeDocument/2006/relationships/image" Target="../media/image46.emf"/></Relationships>
</file>

<file path=ppt/slides/_rels/slide1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6.xml"/><Relationship Id="rId1" Type="http://schemas.openxmlformats.org/officeDocument/2006/relationships/slideLayout" Target="../slideLayouts/slideLayout21.xml"/><Relationship Id="rId4" Type="http://schemas.openxmlformats.org/officeDocument/2006/relationships/image" Target="../media/image50.emf"/></Relationships>
</file>

<file path=ppt/slides/_rels/slide1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1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1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0.xml"/><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Layout" Target="../slideLayouts/slideLayout2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7.xml"/><Relationship Id="rId6" Type="http://schemas.microsoft.com/office/2007/relationships/hdphoto" Target="../media/hdphoto7.wdp"/><Relationship Id="rId5" Type="http://schemas.openxmlformats.org/officeDocument/2006/relationships/image" Target="../media/image55.png"/><Relationship Id="rId4" Type="http://schemas.microsoft.com/office/2007/relationships/hdphoto" Target="../media/hdphoto6.wdp"/></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3.xml"/><Relationship Id="rId1" Type="http://schemas.openxmlformats.org/officeDocument/2006/relationships/slideLayout" Target="../slideLayouts/slideLayout22.xml"/></Relationships>
</file>

<file path=ppt/slides/_rels/slide1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4.xml"/><Relationship Id="rId1" Type="http://schemas.openxmlformats.org/officeDocument/2006/relationships/slideLayout" Target="../slideLayouts/slideLayout14.xml"/><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5.xml"/><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9.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9.xml"/></Relationships>
</file>

<file path=ppt/slides/_rels/slide1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8.xml"/><Relationship Id="rId1" Type="http://schemas.openxmlformats.org/officeDocument/2006/relationships/slideLayout" Target="../slideLayouts/slideLayout19.xml"/></Relationships>
</file>

<file path=ppt/slides/_rels/slide1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9.xml"/><Relationship Id="rId1" Type="http://schemas.openxmlformats.org/officeDocument/2006/relationships/slideLayout" Target="../slideLayouts/slideLayout2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9.xml"/></Relationships>
</file>

<file path=ppt/slides/_rels/slide128.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29.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7.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14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3.png"/><Relationship Id="rId7" Type="http://schemas.microsoft.com/office/2007/relationships/hdphoto" Target="../media/hdphoto7.wdp"/><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5.png"/><Relationship Id="rId5" Type="http://schemas.microsoft.com/office/2007/relationships/hdphoto" Target="../media/hdphoto6.wdp"/><Relationship Id="rId4" Type="http://schemas.openxmlformats.org/officeDocument/2006/relationships/image" Target="../media/image54.png"/><Relationship Id="rId9" Type="http://schemas.openxmlformats.org/officeDocument/2006/relationships/image" Target="../media/image63.png"/></Relationships>
</file>

<file path=ppt/slides/_rels/slide14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93.xml"/><Relationship Id="rId1" Type="http://schemas.openxmlformats.org/officeDocument/2006/relationships/slideLayout" Target="../slideLayouts/slideLayout13.xml"/></Relationships>
</file>

<file path=ppt/slides/_rels/slide14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94.xml"/><Relationship Id="rId1" Type="http://schemas.openxmlformats.org/officeDocument/2006/relationships/slideLayout" Target="../slideLayouts/slideLayout26.xml"/></Relationships>
</file>

<file path=ppt/slides/_rels/slide1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96.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5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97.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8.xml"/><Relationship Id="rId1" Type="http://schemas.openxmlformats.org/officeDocument/2006/relationships/slideLayout" Target="../slideLayouts/slideLayout25.xml"/></Relationships>
</file>

<file path=ppt/slides/_rels/slide15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99.xml"/><Relationship Id="rId1" Type="http://schemas.openxmlformats.org/officeDocument/2006/relationships/slideLayout" Target="../slideLayouts/slideLayout21.xml"/></Relationships>
</file>

<file path=ppt/slides/_rels/slide16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0.xml"/><Relationship Id="rId1" Type="http://schemas.openxmlformats.org/officeDocument/2006/relationships/slideLayout" Target="../slideLayouts/slideLayout26.xml"/><Relationship Id="rId5" Type="http://schemas.openxmlformats.org/officeDocument/2006/relationships/image" Target="../media/image51.emf"/><Relationship Id="rId4" Type="http://schemas.microsoft.com/office/2007/relationships/hdphoto" Target="../media/hdphoto8.wdp"/></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1.xml"/><Relationship Id="rId1" Type="http://schemas.openxmlformats.org/officeDocument/2006/relationships/slideLayout" Target="../slideLayouts/slideLayout61.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8.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03.xml"/><Relationship Id="rId1" Type="http://schemas.openxmlformats.org/officeDocument/2006/relationships/slideLayout" Target="../slideLayouts/slideLayout21.xml"/></Relationships>
</file>

<file path=ppt/slides/_rels/slide17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8.png"/><Relationship Id="rId5" Type="http://schemas.openxmlformats.org/officeDocument/2006/relationships/notesSlide" Target="../notesSlides/notesSlide104.xml"/><Relationship Id="rId4" Type="http://schemas.openxmlformats.org/officeDocument/2006/relationships/slideLayout" Target="../slideLayouts/slideLayout4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4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1.xml"/></Relationships>
</file>

<file path=ppt/slides/_rels/slide176.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70.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5.emf"/><Relationship Id="rId2" Type="http://schemas.openxmlformats.org/officeDocument/2006/relationships/tags" Target="../tags/tag47.xml"/><Relationship Id="rId16" Type="http://schemas.openxmlformats.org/officeDocument/2006/relationships/oleObject" Target="../embeddings/oleObject15.bin"/><Relationship Id="rId1" Type="http://schemas.openxmlformats.org/officeDocument/2006/relationships/vmlDrawing" Target="../drawings/vmlDrawing17.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notesSlide" Target="../notesSlides/notesSlide108.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37.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43.xml"/><Relationship Id="rId1" Type="http://schemas.openxmlformats.org/officeDocument/2006/relationships/tags" Target="../tags/tag59.xml"/><Relationship Id="rId4" Type="http://schemas.openxmlformats.org/officeDocument/2006/relationships/image" Target="../media/image71.png"/></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43.xml"/><Relationship Id="rId1" Type="http://schemas.openxmlformats.org/officeDocument/2006/relationships/tags" Target="../tags/tag60.xml"/><Relationship Id="rId5" Type="http://schemas.openxmlformats.org/officeDocument/2006/relationships/image" Target="../media/image72.emf"/><Relationship Id="rId4" Type="http://schemas.openxmlformats.org/officeDocument/2006/relationships/image" Target="../media/image71.png"/></Relationships>
</file>

<file path=ppt/slides/_rels/slide17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5.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6.bin"/><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tags" Target="../tags/tag65.xml"/><Relationship Id="rId11" Type="http://schemas.openxmlformats.org/officeDocument/2006/relationships/notesSlide" Target="../notesSlides/notesSlide111.xml"/><Relationship Id="rId5" Type="http://schemas.openxmlformats.org/officeDocument/2006/relationships/tags" Target="../tags/tag64.xml"/><Relationship Id="rId10" Type="http://schemas.openxmlformats.org/officeDocument/2006/relationships/slideLayout" Target="../slideLayouts/slideLayout37.xml"/><Relationship Id="rId4" Type="http://schemas.openxmlformats.org/officeDocument/2006/relationships/tags" Target="../tags/tag63.xml"/><Relationship Id="rId9" Type="http://schemas.openxmlformats.org/officeDocument/2006/relationships/tags" Target="../tags/tag68.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112.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7.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2.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1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6.xml"/><Relationship Id="rId1" Type="http://schemas.openxmlformats.org/officeDocument/2006/relationships/slideLayout" Target="../slideLayouts/slideLayout1.xml"/></Relationships>
</file>

<file path=ppt/slides/_rels/slide19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7.xml"/><Relationship Id="rId1" Type="http://schemas.openxmlformats.org/officeDocument/2006/relationships/slideLayout" Target="../slideLayouts/slideLayout23.xml"/><Relationship Id="rId4" Type="http://schemas.openxmlformats.org/officeDocument/2006/relationships/image" Target="../media/image74.png"/></Relationships>
</file>

<file path=ppt/slides/_rels/slide19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8.xml"/><Relationship Id="rId1" Type="http://schemas.openxmlformats.org/officeDocument/2006/relationships/slideLayout" Target="../slideLayouts/slideLayout9.xml"/></Relationships>
</file>

<file path=ppt/slides/_rels/slide19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4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1.xml"/><Relationship Id="rId1" Type="http://schemas.openxmlformats.org/officeDocument/2006/relationships/vmlDrawing" Target="../drawings/vmlDrawing12.vml"/><Relationship Id="rId5" Type="http://schemas.openxmlformats.org/officeDocument/2006/relationships/image" Target="../media/image33.emf"/><Relationship Id="rId4" Type="http://schemas.openxmlformats.org/officeDocument/2006/relationships/package" Target="../embeddings/Microsoft_Visio_Drawing1.vsdx"/></Relationships>
</file>

<file path=ppt/slides/_rels/slide5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1.xml"/><Relationship Id="rId1" Type="http://schemas.openxmlformats.org/officeDocument/2006/relationships/vmlDrawing" Target="../drawings/vmlDrawing13.vml"/><Relationship Id="rId5" Type="http://schemas.openxmlformats.org/officeDocument/2006/relationships/image" Target="../media/image34.emf"/><Relationship Id="rId4" Type="http://schemas.openxmlformats.org/officeDocument/2006/relationships/package" Target="../embeddings/Microsoft_Visio_Drawing2.vsdx"/></Relationships>
</file>

<file path=ppt/slides/_rels/slide5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1.xml"/><Relationship Id="rId1" Type="http://schemas.openxmlformats.org/officeDocument/2006/relationships/slideLayout" Target="../slideLayouts/slideLayout21.xml"/><Relationship Id="rId4" Type="http://schemas.openxmlformats.org/officeDocument/2006/relationships/image" Target="../media/image36.emf"/></Relationships>
</file>

<file path=ppt/slides/_rels/slide5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3.xml"/><Relationship Id="rId1" Type="http://schemas.openxmlformats.org/officeDocument/2006/relationships/slideLayout" Target="../slideLayouts/slideLayout3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5.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7.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8.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8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7.xml"/><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8.xml"/><Relationship Id="rId1" Type="http://schemas.openxmlformats.org/officeDocument/2006/relationships/slideLayout" Target="../slideLayouts/slideLayout12.xml"/><Relationship Id="rId4" Type="http://schemas.openxmlformats.org/officeDocument/2006/relationships/image" Target="../media/image41.emf"/></Relationships>
</file>

<file path=ppt/slides/_rels/slide9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9.xml"/><Relationship Id="rId1" Type="http://schemas.openxmlformats.org/officeDocument/2006/relationships/slideLayout" Target="../slideLayouts/slideLayout12.xml"/><Relationship Id="rId4" Type="http://schemas.openxmlformats.org/officeDocument/2006/relationships/image" Target="../media/image41.emf"/></Relationships>
</file>

<file path=ppt/slides/_rels/slide9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70.xml"/><Relationship Id="rId1" Type="http://schemas.openxmlformats.org/officeDocument/2006/relationships/slideLayout" Target="../slideLayouts/slideLayout3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1.xml"/><Relationship Id="rId1" Type="http://schemas.openxmlformats.org/officeDocument/2006/relationships/slideLayout" Target="../slideLayouts/slideLayout21.xml"/></Relationships>
</file>

<file path=ppt/slides/_rels/slide9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2.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3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grpSp>
        <p:nvGrpSpPr>
          <p:cNvPr id="4" name="Group 3"/>
          <p:cNvGrpSpPr/>
          <p:nvPr/>
        </p:nvGrpSpPr>
        <p:grpSpPr>
          <a:xfrm>
            <a:off x="1332667" y="1157591"/>
            <a:ext cx="9526666" cy="4542819"/>
            <a:chOff x="1330520" y="1146067"/>
            <a:chExt cx="9526666" cy="4542819"/>
          </a:xfrm>
        </p:grpSpPr>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sz="2800" kern="0" spc="-100" dirty="0">
                  <a:ln>
                    <a:solidFill>
                      <a:srgbClr val="FFFFFF">
                        <a:alpha val="0"/>
                      </a:srgbClr>
                    </a:solidFill>
                  </a:ln>
                  <a:solidFill>
                    <a:srgbClr val="FFFFFF"/>
                  </a:solidFill>
                  <a:latin typeface="Segoe UI Light" pitchFamily="34" charset="0"/>
                  <a:cs typeface="Arial"/>
                </a:rPr>
                <a:t>Large Data Volumes</a:t>
              </a:r>
            </a:p>
          </p:txBody>
        </p:sp>
        <p:sp>
          <p:nvSpPr>
            <p:cNvPr id="74" name="Round Same Side Corner Rectangle 73"/>
            <p:cNvSpPr/>
            <p:nvPr/>
          </p:nvSpPr>
          <p:spPr>
            <a:xfrm>
              <a:off x="1330521"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spcBef>
                  <a:spcPts val="600"/>
                </a:spcBef>
              </a:pPr>
              <a:r>
                <a:rPr lang="en-US" sz="2800" kern="0" spc="-100" dirty="0" smtClean="0">
                  <a:ln>
                    <a:solidFill>
                      <a:srgbClr val="FFFFFF">
                        <a:alpha val="0"/>
                      </a:srgbClr>
                    </a:solidFill>
                  </a:ln>
                  <a:solidFill>
                    <a:srgbClr val="FFFFFF"/>
                  </a:solidFill>
                  <a:latin typeface="Segoe UI Light" pitchFamily="34" charset="0"/>
                  <a:cs typeface="Arial"/>
                </a:rPr>
                <a:t>Non-traditional</a:t>
              </a:r>
              <a:br>
                <a:rPr lang="en-US" sz="2800" kern="0" spc="-100" dirty="0" smtClean="0">
                  <a:ln>
                    <a:solidFill>
                      <a:srgbClr val="FFFFFF">
                        <a:alpha val="0"/>
                      </a:srgbClr>
                    </a:solidFill>
                  </a:ln>
                  <a:solidFill>
                    <a:srgbClr val="FFFFFF"/>
                  </a:solidFill>
                  <a:latin typeface="Segoe UI Light" pitchFamily="34" charset="0"/>
                  <a:cs typeface="Arial"/>
                </a:rPr>
              </a:br>
              <a:r>
                <a:rPr lang="en-US" sz="2800" kern="0" spc="-100" dirty="0" smtClean="0">
                  <a:ln>
                    <a:solidFill>
                      <a:srgbClr val="FFFFFF">
                        <a:alpha val="0"/>
                      </a:srgbClr>
                    </a:solidFill>
                  </a:ln>
                  <a:solidFill>
                    <a:srgbClr val="FFFFFF"/>
                  </a:solidFill>
                  <a:latin typeface="Segoe UI Light" pitchFamily="34" charset="0"/>
                  <a:cs typeface="Arial"/>
                </a:rPr>
                <a:t>Data </a:t>
              </a:r>
              <a:r>
                <a:rPr lang="en-US" sz="2800" kern="0" spc="-100" dirty="0">
                  <a:ln>
                    <a:solidFill>
                      <a:srgbClr val="FFFFFF">
                        <a:alpha val="0"/>
                      </a:srgbClr>
                    </a:solidFill>
                  </a:ln>
                  <a:solidFill>
                    <a:srgbClr val="FFFFFF"/>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3505229" y="2855502"/>
              <a:ext cx="836918" cy="473742"/>
            </a:xfrm>
            <a:prstGeom prst="rect">
              <a:avLst/>
            </a:prstGeom>
            <a:effectLst/>
          </p:spPr>
        </p:pic>
        <p:sp>
          <p:nvSpPr>
            <p:cNvPr id="134" name="Isosceles Triangle 133"/>
            <p:cNvSpPr/>
            <p:nvPr/>
          </p:nvSpPr>
          <p:spPr bwMode="auto">
            <a:xfrm rot="10800000">
              <a:off x="1330520" y="4255028"/>
              <a:ext cx="9526666" cy="572027"/>
            </a:xfrm>
            <a:prstGeom prst="triangle">
              <a:avLst/>
            </a:prstGeom>
            <a:solidFill>
              <a:srgbClr val="ED7D31"/>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Round Same Side Corner Rectangle 73"/>
            <p:cNvSpPr/>
            <p:nvPr/>
          </p:nvSpPr>
          <p:spPr>
            <a:xfrm>
              <a:off x="7748226"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10335307" y="1253898"/>
              <a:ext cx="420546" cy="5027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35" name="Freeform 83"/>
            <p:cNvSpPr>
              <a:spLocks noEditPoints="1"/>
            </p:cNvSpPr>
            <p:nvPr/>
          </p:nvSpPr>
          <p:spPr bwMode="black">
            <a:xfrm>
              <a:off x="6844021" y="1253898"/>
              <a:ext cx="677662" cy="71535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45" name="Round Same Side Corner Rectangle 73"/>
            <p:cNvSpPr/>
            <p:nvPr/>
          </p:nvSpPr>
          <p:spPr>
            <a:xfrm>
              <a:off x="1330521"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3622325" y="1253898"/>
              <a:ext cx="719822" cy="3840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49" name="Round Same Side Corner Rectangle 73"/>
            <p:cNvSpPr/>
            <p:nvPr/>
          </p:nvSpPr>
          <p:spPr>
            <a:xfrm>
              <a:off x="7748226"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10140615" y="2855502"/>
              <a:ext cx="615238" cy="430374"/>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 name="Group 1"/>
            <p:cNvGrpSpPr/>
            <p:nvPr/>
          </p:nvGrpSpPr>
          <p:grpSpPr>
            <a:xfrm>
              <a:off x="1330520" y="4827056"/>
              <a:ext cx="9526666" cy="861830"/>
              <a:chOff x="1330520" y="5325906"/>
              <a:chExt cx="9526666" cy="861830"/>
            </a:xfrm>
          </p:grpSpPr>
          <p:sp>
            <p:nvSpPr>
              <p:cNvPr id="135" name="Round Same Side Corner Rectangle 73"/>
              <p:cNvSpPr/>
              <p:nvPr/>
            </p:nvSpPr>
            <p:spPr>
              <a:xfrm>
                <a:off x="1330520" y="5325906"/>
                <a:ext cx="9526666" cy="86183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endParaRPr lang="en-US" sz="3600" kern="0" dirty="0">
                  <a:ln>
                    <a:solidFill>
                      <a:srgbClr val="FFFFFF">
                        <a:alpha val="0"/>
                      </a:srgbClr>
                    </a:solidFill>
                  </a:ln>
                  <a:solidFill>
                    <a:srgbClr val="FFFFFF"/>
                  </a:solidFill>
                  <a:latin typeface="Segoe UI Light" pitchFamily="34" charset="0"/>
                  <a:cs typeface="Arial"/>
                </a:endParaRP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9322685" y="5436904"/>
                <a:ext cx="817930" cy="639834"/>
              </a:xfrm>
              <a:prstGeom prst="rect">
                <a:avLst/>
              </a:prstGeom>
              <a:effectLst/>
            </p:spPr>
          </p:pic>
          <p:sp>
            <p:nvSpPr>
              <p:cNvPr id="21" name="Round Same Side Corner Rectangle 73"/>
              <p:cNvSpPr/>
              <p:nvPr/>
            </p:nvSpPr>
            <p:spPr>
              <a:xfrm>
                <a:off x="3051134" y="5440259"/>
                <a:ext cx="6089732" cy="639836"/>
              </a:xfrm>
              <a:prstGeom prst="rect">
                <a:avLst/>
              </a:prstGeom>
              <a:noFill/>
              <a:ln w="10795" cap="flat" cmpd="sng" algn="ctr">
                <a:noFill/>
                <a:prstDash val="dash"/>
              </a:ln>
              <a:effectLst/>
            </p:spPr>
            <p:txBody>
              <a:bodyPr lIns="91440" tIns="91440" rIns="91440" bIns="91440" rtlCol="0" anchor="ctr" anchorCtr="0"/>
              <a:lstStyle/>
              <a:p>
                <a:pPr algn="ct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grpSp>
      </p:grpSp>
      <p:sp>
        <p:nvSpPr>
          <p:cNvPr id="23"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Characteristics of Big Data</a:t>
            </a:r>
          </a:p>
        </p:txBody>
      </p:sp>
      <p:pic>
        <p:nvPicPr>
          <p:cNvPr id="24" name="Picture 23"/>
          <p:cNvPicPr>
            <a:picLocks noChangeAspect="1"/>
          </p:cNvPicPr>
          <p:nvPr/>
        </p:nvPicPr>
        <p:blipFill>
          <a:blip r:embed="rId10"/>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720221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6" name="TextBox 5"/>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0" name="TextBox 4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latin typeface="+mj-lt"/>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Traditional E-Commerce Data Flow</a:t>
            </a:r>
          </a:p>
        </p:txBody>
      </p:sp>
      <p:pic>
        <p:nvPicPr>
          <p:cNvPr id="39" name="Picture 38"/>
          <p:cNvPicPr>
            <a:picLocks noChangeAspect="1"/>
          </p:cNvPicPr>
          <p:nvPr/>
        </p:nvPicPr>
        <p:blipFill>
          <a:blip r:embed="rId8"/>
          <a:stretch>
            <a:fillRect/>
          </a:stretch>
        </p:blipFill>
        <p:spPr>
          <a:xfrm>
            <a:off x="11171841" y="72570"/>
            <a:ext cx="933073" cy="686786"/>
          </a:xfrm>
          <a:prstGeom prst="rect">
            <a:avLst/>
          </a:prstGeom>
        </p:spPr>
      </p:pic>
    </p:spTree>
    <p:extLst>
      <p:ext uri="{BB962C8B-B14F-4D97-AF65-F5344CB8AC3E}">
        <p14:creationId xmlns:p14="http://schemas.microsoft.com/office/powerpoint/2010/main" val="197914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22" presetClass="entr" presetSubtype="8"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22" presetClass="entr" presetSubtype="8" fill="hold" nodeType="withEffect">
                                  <p:stCondLst>
                                    <p:cond delay="50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22" presetClass="entr" presetSubtype="8"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500"/>
                                        <p:tgtEl>
                                          <p:spTgt spid="70"/>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wipe(left)">
                                      <p:cBhvr>
                                        <p:cTn id="29" dur="500"/>
                                        <p:tgtEl>
                                          <p:spTgt spid="52"/>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wipe(left)">
                                      <p:cBhvr>
                                        <p:cTn id="32" dur="500"/>
                                        <p:tgtEl>
                                          <p:spTgt spid="53"/>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wipe(left)">
                                      <p:cBhvr>
                                        <p:cTn id="35" dur="500"/>
                                        <p:tgtEl>
                                          <p:spTgt spid="54"/>
                                        </p:tgtEl>
                                      </p:cBhvr>
                                    </p:animEffect>
                                  </p:childTnLst>
                                </p:cTn>
                              </p:par>
                              <p:par>
                                <p:cTn id="36" presetID="10" presetClass="entr" presetSubtype="0" fill="hold" nodeType="withEffect">
                                  <p:stCondLst>
                                    <p:cond delay="50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wipe(left)">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wipe(left)">
                                      <p:cBhvr>
                                        <p:cTn id="54" dur="500"/>
                                        <p:tgtEl>
                                          <p:spTgt spid="75"/>
                                        </p:tgtEl>
                                      </p:cBhvr>
                                    </p:animEffect>
                                  </p:childTnLst>
                                </p:cTn>
                              </p:par>
                              <p:par>
                                <p:cTn id="55" presetID="10" presetClass="entr" presetSubtype="0" fill="hold"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500"/>
                                        <p:tgtEl>
                                          <p:spTgt spid="71"/>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74"/>
                                        </p:tgtEl>
                                        <p:attrNameLst>
                                          <p:attrName>style.visibility</p:attrName>
                                        </p:attrNameLst>
                                      </p:cBhvr>
                                      <p:to>
                                        <p:strVal val="visible"/>
                                      </p:to>
                                    </p:set>
                                    <p:animEffect transition="in" filter="wipe(left)">
                                      <p:cBhvr>
                                        <p:cTn id="62" dur="500"/>
                                        <p:tgtEl>
                                          <p:spTgt spid="74"/>
                                        </p:tgtEl>
                                      </p:cBhvr>
                                    </p:animEffect>
                                  </p:childTnLst>
                                </p:cTn>
                              </p:par>
                              <p:par>
                                <p:cTn id="63" presetID="10" presetClass="entr" presetSubtype="0" fill="hold"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3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93900" y="1125115"/>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07" name="TextBox 106"/>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0" name="TextBox 10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8278217" y="4457831"/>
            <a:ext cx="1773880"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latin typeface="+mj-lt"/>
              <a:cs typeface="Arial"/>
            </a:endParaRPr>
          </a:p>
        </p:txBody>
      </p:sp>
      <p:sp>
        <p:nvSpPr>
          <p:cNvPr id="133" name="Round Same Side Corner Rectangle 73"/>
          <p:cNvSpPr/>
          <p:nvPr/>
        </p:nvSpPr>
        <p:spPr>
          <a:xfrm>
            <a:off x="0" y="6266739"/>
            <a:ext cx="12192000" cy="618271"/>
          </a:xfrm>
          <a:prstGeom prst="rect">
            <a:avLst/>
          </a:prstGeom>
          <a:noFill/>
          <a:ln w="10795" cap="flat" cmpd="sng" algn="ctr">
            <a:noFill/>
            <a:prstDash val="dash"/>
          </a:ln>
          <a:effectLst/>
        </p:spPr>
        <p:txBody>
          <a:bodyPr lIns="91440" tIns="91440" rIns="91440" bIns="91440" rtlCol="0" anchor="ctr" anchorCtr="0"/>
          <a:lstStyle/>
          <a:p>
            <a:pPr algn="ctr"/>
            <a:r>
              <a:rPr lang="en-US" sz="3100" kern="0" dirty="0">
                <a:ln>
                  <a:solidFill>
                    <a:srgbClr val="FFFFFF">
                      <a:alpha val="0"/>
                    </a:srgbClr>
                  </a:solidFill>
                </a:ln>
                <a:solidFill>
                  <a:schemeClr val="bg1">
                    <a:alpha val="99000"/>
                  </a:schemeClr>
                </a:solidFill>
                <a:latin typeface="+mj-lt"/>
                <a:cs typeface="Arial"/>
              </a:rPr>
              <a:t>How much do views </a:t>
            </a:r>
            <a:r>
              <a:rPr lang="en-US" sz="3100" kern="0" dirty="0" smtClean="0">
                <a:ln>
                  <a:solidFill>
                    <a:srgbClr val="FFFFFF">
                      <a:alpha val="0"/>
                    </a:srgbClr>
                  </a:solidFill>
                </a:ln>
                <a:solidFill>
                  <a:schemeClr val="bg1">
                    <a:alpha val="99000"/>
                  </a:schemeClr>
                </a:solidFill>
                <a:latin typeface="+mj-lt"/>
                <a:cs typeface="Arial"/>
              </a:rPr>
              <a:t>for </a:t>
            </a:r>
            <a:r>
              <a:rPr lang="en-US" sz="3100" kern="0" dirty="0">
                <a:ln>
                  <a:solidFill>
                    <a:srgbClr val="FFFFFF">
                      <a:alpha val="0"/>
                    </a:srgbClr>
                  </a:solidFill>
                </a:ln>
                <a:solidFill>
                  <a:schemeClr val="bg1">
                    <a:alpha val="99000"/>
                  </a:schemeClr>
                </a:solidFill>
                <a:latin typeface="+mj-lt"/>
                <a:cs typeface="Arial"/>
              </a:rPr>
              <a:t>certain products increase when our TV ads run?</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New E-Commerce </a:t>
            </a:r>
            <a:r>
              <a:rPr lang="en-US" sz="2800" dirty="0"/>
              <a:t>Data Flow</a:t>
            </a:r>
          </a:p>
        </p:txBody>
      </p:sp>
      <p:pic>
        <p:nvPicPr>
          <p:cNvPr id="70" name="Picture 69"/>
          <p:cNvPicPr>
            <a:picLocks noChangeAspect="1"/>
          </p:cNvPicPr>
          <p:nvPr/>
        </p:nvPicPr>
        <p:blipFill>
          <a:blip r:embed="rId9"/>
          <a:stretch>
            <a:fillRect/>
          </a:stretch>
        </p:blipFill>
        <p:spPr>
          <a:xfrm>
            <a:off x="11171841" y="72570"/>
            <a:ext cx="933073" cy="686786"/>
          </a:xfrm>
          <a:prstGeom prst="rect">
            <a:avLst/>
          </a:prstGeom>
        </p:spPr>
      </p:pic>
      <p:cxnSp>
        <p:nvCxnSpPr>
          <p:cNvPr id="71" name="Straight Arrow Connector 70"/>
          <p:cNvCxnSpPr>
            <a:stCxn id="66" idx="3"/>
            <a:endCxn id="132" idx="1"/>
          </p:cNvCxnSpPr>
          <p:nvPr/>
        </p:nvCxnSpPr>
        <p:spPr>
          <a:xfrm>
            <a:off x="7038539" y="5130889"/>
            <a:ext cx="1239678" cy="16224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43456" y="4128661"/>
            <a:ext cx="1995083" cy="1999769"/>
            <a:chOff x="5027903" y="4128661"/>
            <a:chExt cx="1995083" cy="1999769"/>
          </a:xfrm>
        </p:grpSpPr>
        <p:sp>
          <p:nvSpPr>
            <p:cNvPr id="66" name="Round Same Side Corner Rectangle 73"/>
            <p:cNvSpPr/>
            <p:nvPr/>
          </p:nvSpPr>
          <p:spPr>
            <a:xfrm>
              <a:off x="5027903" y="4133347"/>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latin typeface="+mj-lt"/>
                <a:cs typeface="Arial"/>
              </a:endParaRPr>
            </a:p>
          </p:txBody>
        </p:sp>
        <p:grpSp>
          <p:nvGrpSpPr>
            <p:cNvPr id="73" name="Group 72"/>
            <p:cNvGrpSpPr/>
            <p:nvPr/>
          </p:nvGrpSpPr>
          <p:grpSpPr>
            <a:xfrm>
              <a:off x="5586733" y="4729281"/>
              <a:ext cx="1023494" cy="1275980"/>
              <a:chOff x="1124776" y="4465656"/>
              <a:chExt cx="1016230" cy="1266924"/>
            </a:xfrm>
          </p:grpSpPr>
          <p:grpSp>
            <p:nvGrpSpPr>
              <p:cNvPr id="74" name="Group 73"/>
              <p:cNvGrpSpPr/>
              <p:nvPr/>
            </p:nvGrpSpPr>
            <p:grpSpPr>
              <a:xfrm>
                <a:off x="1124776" y="4976326"/>
                <a:ext cx="1016230" cy="756254"/>
                <a:chOff x="1124776" y="5006470"/>
                <a:chExt cx="1016230" cy="756254"/>
              </a:xfrm>
            </p:grpSpPr>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0"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3" name="Group 82"/>
              <p:cNvGrpSpPr/>
              <p:nvPr/>
            </p:nvGrpSpPr>
            <p:grpSpPr>
              <a:xfrm>
                <a:off x="1124776" y="4720991"/>
                <a:ext cx="1016230" cy="756254"/>
                <a:chOff x="1124776" y="5006470"/>
                <a:chExt cx="1016230" cy="756254"/>
              </a:xfrm>
            </p:grpSpPr>
            <p:sp>
              <p:nvSpPr>
                <p:cNvPr id="87"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4" name="Group 83"/>
              <p:cNvGrpSpPr/>
              <p:nvPr/>
            </p:nvGrpSpPr>
            <p:grpSpPr>
              <a:xfrm>
                <a:off x="1124776" y="4465656"/>
                <a:ext cx="1016230" cy="756254"/>
                <a:chOff x="1124776" y="5006470"/>
                <a:chExt cx="1016230" cy="756254"/>
              </a:xfrm>
            </p:grpSpPr>
            <p:sp>
              <p:nvSpPr>
                <p:cNvPr id="8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5036884" y="4128661"/>
              <a:ext cx="1986101" cy="475082"/>
            </a:xfrm>
            <a:prstGeom prst="rect">
              <a:avLst/>
            </a:prstGeom>
            <a:noFill/>
          </p:spPr>
          <p:txBody>
            <a:bodyPr wrap="square" lIns="0" tIns="36000" rIns="0" bIns="0" rtlCol="0" anchor="t">
              <a:noAutofit/>
            </a:bodyPr>
            <a:lstStyle/>
            <a:p>
              <a:pPr algn="ctr">
                <a:lnSpc>
                  <a:spcPct val="80000"/>
                </a:lnSpc>
                <a:buSzPct val="80000"/>
              </a:pPr>
              <a:r>
                <a:rPr lang="en-US" dirty="0" smtClean="0">
                  <a:solidFill>
                    <a:srgbClr val="FFFFFF">
                      <a:alpha val="99000"/>
                    </a:srgbClr>
                  </a:solidFill>
                  <a:latin typeface="+mj-lt"/>
                </a:rPr>
                <a:t>Raw Data</a:t>
              </a:r>
              <a:br>
                <a:rPr lang="en-US" dirty="0" smtClean="0">
                  <a:solidFill>
                    <a:srgbClr val="FFFFFF">
                      <a:alpha val="99000"/>
                    </a:srgbClr>
                  </a:solidFill>
                  <a:latin typeface="+mj-lt"/>
                </a:rPr>
              </a:br>
              <a:r>
                <a:rPr lang="en-US" dirty="0" smtClean="0">
                  <a:solidFill>
                    <a:srgbClr val="FFFFFF">
                      <a:alpha val="99000"/>
                    </a:srgbClr>
                  </a:solidFill>
                  <a:latin typeface="+mj-lt"/>
                </a:rPr>
                <a:t>“Store </a:t>
              </a:r>
              <a:r>
                <a:rPr lang="en-US" dirty="0">
                  <a:solidFill>
                    <a:srgbClr val="FFFFFF">
                      <a:alpha val="99000"/>
                    </a:srgbClr>
                  </a:solidFill>
                  <a:latin typeface="+mj-lt"/>
                </a:rPr>
                <a:t>it All</a:t>
              </a:r>
              <a:r>
                <a:rPr lang="en-US" dirty="0" smtClean="0">
                  <a:solidFill>
                    <a:srgbClr val="FFFFFF">
                      <a:alpha val="99000"/>
                    </a:srgbClr>
                  </a:solidFill>
                  <a:latin typeface="+mj-lt"/>
                </a:rPr>
                <a:t>” </a:t>
              </a:r>
              <a:r>
                <a:rPr lang="en-US" dirty="0">
                  <a:solidFill>
                    <a:srgbClr val="FFFFFF">
                      <a:alpha val="99000"/>
                    </a:srgbClr>
                  </a:solidFill>
                  <a:latin typeface="+mj-lt"/>
                </a:rPr>
                <a:t>Cluster</a:t>
              </a:r>
            </a:p>
          </p:txBody>
        </p:sp>
      </p:gr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wipe(left)">
                                      <p:cBhvr>
                                        <p:cTn id="30" dur="500"/>
                                        <p:tgtEl>
                                          <p:spTgt spid="71"/>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fade">
                                      <p:cBhvr>
                                        <p:cTn id="37" dur="500"/>
                                        <p:tgtEl>
                                          <p:spTgt spid="132"/>
                                        </p:tgtEl>
                                      </p:cBhvr>
                                    </p:animEffect>
                                  </p:childTnLst>
                                </p:cTn>
                              </p:par>
                            </p:childTnLst>
                          </p:cTn>
                        </p:par>
                        <p:par>
                          <p:cTn id="38" fill="hold">
                            <p:stCondLst>
                              <p:cond delay="1000"/>
                            </p:stCondLst>
                            <p:childTnLst>
                              <p:par>
                                <p:cTn id="39" presetID="22" presetClass="entr" presetSubtype="4" fill="hold" grpId="0" nodeType="after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down)">
                                      <p:cBhvr>
                                        <p:cTn id="41" dur="500"/>
                                        <p:tgtEl>
                                          <p:spTgt spid="13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8"/>
                                        </p:tgtEl>
                                        <p:attrNameLst>
                                          <p:attrName>style.visibility</p:attrName>
                                        </p:attrNameLst>
                                      </p:cBhvr>
                                      <p:to>
                                        <p:strVal val="visible"/>
                                      </p:to>
                                    </p:set>
                                    <p:animEffect transition="in" filter="fade">
                                      <p:cBhvr>
                                        <p:cTn id="44"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p:bldP spid="137" grpId="0" animBg="1"/>
      <p:bldP spid="138"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ext uri="{D42A27DB-BD31-4B8C-83A1-F6EECF244321}">
                <p14:modId xmlns:p14="http://schemas.microsoft.com/office/powerpoint/2010/main" val="1628917258"/>
              </p:ext>
            </p:extLst>
          </p:nvPr>
        </p:nvGraphicFramePr>
        <p:xfrm>
          <a:off x="908708" y="1640412"/>
          <a:ext cx="10374584" cy="3577177"/>
        </p:xfrm>
        <a:graphic>
          <a:graphicData uri="http://schemas.openxmlformats.org/drawingml/2006/table">
            <a:tbl>
              <a:tblPr bandRow="1">
                <a:tableStyleId>{5C22544A-7EE6-4342-B048-85BDC9FD1C3A}</a:tableStyleId>
              </a:tblPr>
              <a:tblGrid>
                <a:gridCol w="1672018"/>
                <a:gridCol w="4067504"/>
                <a:gridCol w="4635062"/>
              </a:tblGrid>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Data siz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Gigabytes </a:t>
                      </a:r>
                      <a:r>
                        <a:rPr lang="en-US" sz="2800" b="0" i="1" dirty="0" smtClean="0">
                          <a:ln>
                            <a:solidFill>
                              <a:schemeClr val="bg1">
                                <a:alpha val="0"/>
                              </a:schemeClr>
                            </a:solidFill>
                          </a:ln>
                          <a:solidFill>
                            <a:schemeClr val="bg1">
                              <a:alpha val="99000"/>
                            </a:schemeClr>
                          </a:solidFill>
                          <a:latin typeface="+mj-lt"/>
                        </a:rPr>
                        <a:t>(Terabytes)</a:t>
                      </a:r>
                      <a:endParaRPr lang="en-US" sz="2800" b="0" i="1"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Petabytes </a:t>
                      </a:r>
                      <a:r>
                        <a:rPr lang="en-US" sz="2800" b="0" i="1" kern="1200" dirty="0" smtClean="0">
                          <a:ln>
                            <a:solidFill>
                              <a:schemeClr val="bg1">
                                <a:alpha val="0"/>
                              </a:schemeClr>
                            </a:solidFill>
                          </a:ln>
                          <a:solidFill>
                            <a:schemeClr val="bg1">
                              <a:alpha val="99000"/>
                            </a:schemeClr>
                          </a:solidFill>
                          <a:latin typeface="+mj-lt"/>
                          <a:ea typeface="+mn-ea"/>
                          <a:cs typeface="+mn-cs"/>
                        </a:rPr>
                        <a:t>(Hexabytes)</a:t>
                      </a:r>
                      <a:endParaRPr lang="en-US" sz="2800" b="0" i="1" kern="1200" dirty="0">
                        <a:ln>
                          <a:solidFill>
                            <a:schemeClr val="bg1">
                              <a:alpha val="0"/>
                            </a:schemeClr>
                          </a:solidFill>
                        </a:ln>
                        <a:solidFill>
                          <a:schemeClr val="bg1">
                            <a:alpha val="99000"/>
                          </a:schemeClr>
                        </a:solidFill>
                        <a:latin typeface="+mj-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Acces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Interactive and 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Update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Read</a:t>
                      </a:r>
                      <a:r>
                        <a:rPr lang="en-US" sz="2800" b="0" i="0" baseline="0" dirty="0" smtClean="0">
                          <a:ln>
                            <a:solidFill>
                              <a:schemeClr val="bg1">
                                <a:alpha val="0"/>
                              </a:schemeClr>
                            </a:solidFill>
                          </a:ln>
                          <a:solidFill>
                            <a:schemeClr val="bg1">
                              <a:alpha val="99000"/>
                            </a:schemeClr>
                          </a:solidFill>
                          <a:latin typeface="+mj-lt"/>
                        </a:rPr>
                        <a:t> / Write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Write once, Read</a:t>
                      </a:r>
                      <a:r>
                        <a:rPr lang="en-US" sz="2800" b="0" i="0" baseline="0" dirty="0" smtClean="0">
                          <a:ln>
                            <a:solidFill>
                              <a:schemeClr val="bg1">
                                <a:alpha val="0"/>
                              </a:schemeClr>
                            </a:solidFill>
                          </a:ln>
                          <a:solidFill>
                            <a:schemeClr val="bg1">
                              <a:alpha val="99000"/>
                            </a:schemeClr>
                          </a:solidFill>
                          <a:latin typeface="+mj-lt"/>
                        </a:rPr>
                        <a:t>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Structur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Stat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Dynam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Integrity</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High (ACID)</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ow</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1207">
                <a:tc>
                  <a:txBody>
                    <a:bodyPr/>
                    <a:lstStyle/>
                    <a:p>
                      <a:pPr algn="r"/>
                      <a:r>
                        <a:rPr lang="en-US" sz="2800" kern="1200" dirty="0" smtClean="0">
                          <a:solidFill>
                            <a:schemeClr val="bg1">
                              <a:lumMod val="75000"/>
                            </a:schemeClr>
                          </a:solidFill>
                          <a:latin typeface="+mj-lt"/>
                          <a:ea typeface="+mn-ea"/>
                          <a:cs typeface="Segoe UI" panose="020B0502040204020203" pitchFamily="34" charset="0"/>
                        </a:rPr>
                        <a:t>Scaling</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Non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r>
            </a:tbl>
          </a:graphicData>
        </a:graphic>
      </p:graphicFrame>
      <p:sp>
        <p:nvSpPr>
          <p:cNvPr id="11" name="TextBox 10"/>
          <p:cNvSpPr txBox="1"/>
          <p:nvPr/>
        </p:nvSpPr>
        <p:spPr>
          <a:xfrm>
            <a:off x="8480468" y="6673382"/>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chemeClr val="bg1"/>
                </a:solidFill>
              </a:rPr>
              <a:t>Reference: Tom White’s Hadoop: The Definitive Guide</a:t>
            </a:r>
          </a:p>
        </p:txBody>
      </p:sp>
      <p:pic>
        <p:nvPicPr>
          <p:cNvPr id="9" name="Picture 8"/>
          <p:cNvPicPr>
            <a:picLocks noChangeAspect="1"/>
          </p:cNvPicPr>
          <p:nvPr/>
        </p:nvPicPr>
        <p:blipFill>
          <a:blip r:embed="rId3"/>
          <a:stretch>
            <a:fillRect/>
          </a:stretch>
        </p:blipFill>
        <p:spPr>
          <a:xfrm>
            <a:off x="8499664" y="790296"/>
            <a:ext cx="933073" cy="686786"/>
          </a:xfrm>
          <a:prstGeom prst="rect">
            <a:avLst/>
          </a:prstGeom>
        </p:spPr>
      </p:pic>
      <p:pic>
        <p:nvPicPr>
          <p:cNvPr id="14" name="Picture 13"/>
          <p:cNvPicPr>
            <a:picLocks noChangeAspect="1"/>
          </p:cNvPicPr>
          <p:nvPr/>
        </p:nvPicPr>
        <p:blipFill>
          <a:blip r:embed="rId4"/>
          <a:stretch>
            <a:fillRect/>
          </a:stretch>
        </p:blipFill>
        <p:spPr>
          <a:xfrm>
            <a:off x="4288539" y="705662"/>
            <a:ext cx="647352" cy="856054"/>
          </a:xfrm>
          <a:prstGeom prst="rect">
            <a:avLst/>
          </a:prstGeom>
        </p:spPr>
      </p:pic>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RDBMS vs. Hadoop</a:t>
            </a:r>
          </a:p>
        </p:txBody>
      </p:sp>
    </p:spTree>
    <p:extLst>
      <p:ext uri="{BB962C8B-B14F-4D97-AF65-F5344CB8AC3E}">
        <p14:creationId xmlns:p14="http://schemas.microsoft.com/office/powerpoint/2010/main" val="4108490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Programming </a:t>
            </a:r>
            <a:r>
              <a:rPr lang="en-US" sz="2800" dirty="0" err="1" smtClean="0"/>
              <a:t>HDInsight</a:t>
            </a:r>
            <a:r>
              <a:rPr lang="en-US" sz="2800" dirty="0" smtClean="0"/>
              <a:t> – </a:t>
            </a:r>
            <a:r>
              <a:rPr lang="en-US" sz="2800" spc="-71" dirty="0" smtClean="0">
                <a:gradFill>
                  <a:gsLst>
                    <a:gs pos="2917">
                      <a:srgbClr val="FFFFFF"/>
                    </a:gs>
                    <a:gs pos="30000">
                      <a:srgbClr val="FFFFFF"/>
                    </a:gs>
                  </a:gsLst>
                  <a:lin ang="5400000" scaled="0"/>
                </a:gradFill>
              </a:rPr>
              <a:t>Existing ecosystem</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4995512" y="0"/>
            <a:ext cx="2297228" cy="6858000"/>
          </a:xfrm>
          <a:prstGeom prst="rect">
            <a:avLst/>
          </a:prstGeom>
        </p:spPr>
        <p:txBody>
          <a:bodyPr wrap="none" anchor="ctr">
            <a:noAutofit/>
          </a:bodyPr>
          <a:lstStyle/>
          <a:p>
            <a:pPr algn="ctr"/>
            <a:r>
              <a:rPr lang="en-US" sz="4400" dirty="0" smtClean="0">
                <a:solidFill>
                  <a:schemeClr val="bg1"/>
                </a:solidFill>
                <a:latin typeface="+mj-lt"/>
              </a:rPr>
              <a:t>Hive</a:t>
            </a:r>
          </a:p>
          <a:p>
            <a:pPr algn="ctr"/>
            <a:r>
              <a:rPr lang="en-US" sz="4400" dirty="0" smtClean="0">
                <a:solidFill>
                  <a:schemeClr val="bg1"/>
                </a:solidFill>
                <a:latin typeface="+mj-lt"/>
              </a:rPr>
              <a:t>Pig</a:t>
            </a:r>
          </a:p>
          <a:p>
            <a:pPr algn="ctr"/>
            <a:r>
              <a:rPr lang="en-US" sz="4400" dirty="0" smtClean="0">
                <a:solidFill>
                  <a:schemeClr val="bg1"/>
                </a:solidFill>
                <a:latin typeface="+mj-lt"/>
              </a:rPr>
              <a:t>Mahout</a:t>
            </a:r>
          </a:p>
          <a:p>
            <a:pPr algn="ctr"/>
            <a:r>
              <a:rPr lang="en-US" sz="4400" dirty="0" smtClean="0">
                <a:solidFill>
                  <a:schemeClr val="bg1"/>
                </a:solidFill>
                <a:latin typeface="+mj-lt"/>
              </a:rPr>
              <a:t>Cascading</a:t>
            </a:r>
          </a:p>
          <a:p>
            <a:pPr algn="ctr"/>
            <a:r>
              <a:rPr lang="en-US" sz="4400" dirty="0" smtClean="0">
                <a:solidFill>
                  <a:schemeClr val="bg1"/>
                </a:solidFill>
                <a:latin typeface="+mj-lt"/>
              </a:rPr>
              <a:t>Scalding</a:t>
            </a:r>
          </a:p>
          <a:p>
            <a:pPr algn="ctr"/>
            <a:r>
              <a:rPr lang="en-US" sz="4400" dirty="0" err="1" smtClean="0">
                <a:solidFill>
                  <a:schemeClr val="bg1"/>
                </a:solidFill>
                <a:latin typeface="+mj-lt"/>
              </a:rPr>
              <a:t>Scoobi</a:t>
            </a:r>
            <a:endParaRPr lang="en-US" sz="4400" dirty="0" smtClean="0">
              <a:solidFill>
                <a:schemeClr val="bg1"/>
              </a:solidFill>
              <a:latin typeface="+mj-lt"/>
            </a:endParaRPr>
          </a:p>
          <a:p>
            <a:pPr algn="ctr"/>
            <a:r>
              <a:rPr lang="en-US" sz="4400" dirty="0" smtClean="0">
                <a:solidFill>
                  <a:schemeClr val="bg1"/>
                </a:solidFill>
                <a:latin typeface="+mj-lt"/>
              </a:rPr>
              <a:t>Pegasus</a:t>
            </a:r>
          </a:p>
          <a:p>
            <a:pPr algn="ctr"/>
            <a:r>
              <a:rPr lang="en-US" sz="4400" dirty="0" smtClean="0">
                <a:solidFill>
                  <a:schemeClr val="bg1"/>
                </a:solidFill>
                <a:latin typeface="+mj-lt"/>
              </a:rPr>
              <a:t>…</a:t>
            </a:r>
            <a:endParaRPr lang="en-US" sz="4400" dirty="0">
              <a:solidFill>
                <a:schemeClr val="bg1"/>
              </a:solidFill>
              <a:latin typeface="+mj-lt"/>
            </a:endParaRPr>
          </a:p>
        </p:txBody>
      </p:sp>
    </p:spTree>
    <p:extLst>
      <p:ext uri="{BB962C8B-B14F-4D97-AF65-F5344CB8AC3E}">
        <p14:creationId xmlns:p14="http://schemas.microsoft.com/office/powerpoint/2010/main" val="2696655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a:gradFill>
                  <a:gsLst>
                    <a:gs pos="2917">
                      <a:srgbClr val="FFFFFF"/>
                    </a:gs>
                    <a:gs pos="30000">
                      <a:srgbClr val="FFFFFF"/>
                    </a:gs>
                  </a:gsLst>
                  <a:lin ang="5400000" scaled="0"/>
                </a:gradFill>
              </a:rPr>
              <a:t>Microsoft .</a:t>
            </a:r>
            <a:r>
              <a:rPr lang="en-US" sz="2800" spc="-71" dirty="0" smtClean="0">
                <a:gradFill>
                  <a:gsLst>
                    <a:gs pos="2917">
                      <a:srgbClr val="FFFFFF"/>
                    </a:gs>
                    <a:gs pos="30000">
                      <a:srgbClr val="FFFFFF"/>
                    </a:gs>
                  </a:gsLst>
                  <a:lin ang="5400000" scaled="0"/>
                </a:gradFill>
              </a:rPr>
              <a:t>NET</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a:solidFill>
                  <a:schemeClr val="bg1"/>
                </a:solidFill>
                <a:latin typeface="+mj-lt"/>
              </a:rPr>
              <a:t>C#</a:t>
            </a:r>
          </a:p>
          <a:p>
            <a:pPr algn="ctr">
              <a:spcBef>
                <a:spcPts val="1200"/>
              </a:spcBef>
            </a:pPr>
            <a:r>
              <a:rPr lang="en-US" sz="4800" dirty="0">
                <a:solidFill>
                  <a:schemeClr val="bg1"/>
                </a:solidFill>
                <a:latin typeface="+mj-lt"/>
              </a:rPr>
              <a:t>F#</a:t>
            </a:r>
          </a:p>
          <a:p>
            <a:pPr algn="ctr">
              <a:spcBef>
                <a:spcPts val="1200"/>
              </a:spcBef>
            </a:pPr>
            <a:r>
              <a:rPr lang="en-US" sz="4800" dirty="0">
                <a:solidFill>
                  <a:schemeClr val="bg1"/>
                </a:solidFill>
                <a:latin typeface="+mj-lt"/>
              </a:rPr>
              <a:t>Map/Reduce</a:t>
            </a:r>
          </a:p>
          <a:p>
            <a:pPr algn="ctr">
              <a:spcBef>
                <a:spcPts val="1200"/>
              </a:spcBef>
            </a:pPr>
            <a:r>
              <a:rPr lang="en-US" sz="4800" dirty="0">
                <a:solidFill>
                  <a:schemeClr val="bg1"/>
                </a:solidFill>
                <a:latin typeface="+mj-lt"/>
              </a:rPr>
              <a:t>Microsoft .NET management clients</a:t>
            </a:r>
          </a:p>
        </p:txBody>
      </p:sp>
    </p:spTree>
    <p:extLst>
      <p:ext uri="{BB962C8B-B14F-4D97-AF65-F5344CB8AC3E}">
        <p14:creationId xmlns:p14="http://schemas.microsoft.com/office/powerpoint/2010/main" val="311691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err="1">
                <a:gradFill>
                  <a:gsLst>
                    <a:gs pos="2917">
                      <a:srgbClr val="FFFFFF"/>
                    </a:gs>
                    <a:gs pos="30000">
                      <a:srgbClr val="FFFFFF"/>
                    </a:gs>
                  </a:gsLst>
                  <a:lin ang="5400000" scaled="0"/>
                </a:gradFill>
              </a:rPr>
              <a:t>DevOps</a:t>
            </a:r>
            <a:r>
              <a:rPr lang="en-US" sz="2800" spc="-71" dirty="0">
                <a:gradFill>
                  <a:gsLst>
                    <a:gs pos="2917">
                      <a:srgbClr val="FFFFFF"/>
                    </a:gs>
                    <a:gs pos="30000">
                      <a:srgbClr val="FFFFFF"/>
                    </a:gs>
                  </a:gsLst>
                  <a:lin ang="5400000" scaled="0"/>
                </a:gradFill>
              </a:rPr>
              <a:t> / IT </a:t>
            </a:r>
            <a:r>
              <a:rPr lang="en-US" sz="2800" spc="-71" dirty="0" smtClean="0">
                <a:gradFill>
                  <a:gsLst>
                    <a:gs pos="2917">
                      <a:srgbClr val="FFFFFF"/>
                    </a:gs>
                    <a:gs pos="30000">
                      <a:srgbClr val="FFFFFF"/>
                    </a:gs>
                  </a:gsLst>
                  <a:lin ang="5400000" scaled="0"/>
                </a:gradFill>
              </a:rPr>
              <a:t>Pros</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smtClean="0">
                <a:solidFill>
                  <a:schemeClr val="bg1"/>
                </a:solidFill>
                <a:latin typeface="+mj-lt"/>
              </a:rPr>
              <a:t>PowerShell</a:t>
            </a:r>
          </a:p>
          <a:p>
            <a:pPr algn="ctr">
              <a:spcBef>
                <a:spcPts val="1200"/>
              </a:spcBef>
            </a:pPr>
            <a:r>
              <a:rPr lang="en-US" sz="4800" dirty="0" smtClean="0">
                <a:solidFill>
                  <a:schemeClr val="bg1"/>
                </a:solidFill>
                <a:latin typeface="+mj-lt"/>
              </a:rPr>
              <a:t>Cross-Platform </a:t>
            </a:r>
            <a:r>
              <a:rPr lang="en-US" sz="4800" dirty="0">
                <a:solidFill>
                  <a:schemeClr val="bg1"/>
                </a:solidFill>
                <a:latin typeface="+mj-lt"/>
              </a:rPr>
              <a:t>CLI </a:t>
            </a:r>
            <a:r>
              <a:rPr lang="en-US" sz="4800" dirty="0" smtClean="0">
                <a:solidFill>
                  <a:schemeClr val="bg1"/>
                </a:solidFill>
                <a:latin typeface="+mj-lt"/>
              </a:rPr>
              <a:t>tools (xplat-cli)</a:t>
            </a:r>
            <a:endParaRPr lang="en-US" sz="4800" dirty="0">
              <a:solidFill>
                <a:schemeClr val="bg1"/>
              </a:solidFill>
              <a:latin typeface="+mj-lt"/>
            </a:endParaRPr>
          </a:p>
        </p:txBody>
      </p:sp>
    </p:spTree>
    <p:extLst>
      <p:ext uri="{BB962C8B-B14F-4D97-AF65-F5344CB8AC3E}">
        <p14:creationId xmlns:p14="http://schemas.microsoft.com/office/powerpoint/2010/main" val="1027108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1475241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8607" y="0"/>
            <a:ext cx="11655840" cy="899665"/>
          </a:xfrm>
        </p:spPr>
        <p:txBody>
          <a:bodyPr/>
          <a:lstStyle/>
          <a:p>
            <a:r>
              <a:rPr lang="en-US" sz="4400" dirty="0" smtClean="0">
                <a:solidFill>
                  <a:schemeClr val="accent2"/>
                </a:solidFill>
              </a:rPr>
              <a:t>SQL Database Service</a:t>
            </a:r>
            <a:endParaRPr lang="en-US" sz="4400" dirty="0">
              <a:solidFill>
                <a:schemeClr val="accent2"/>
              </a:solidFill>
            </a:endParaRPr>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Predictable performance levels</a:t>
            </a:r>
          </a:p>
          <a:p>
            <a:pPr>
              <a:lnSpc>
                <a:spcPct val="90000"/>
              </a:lnSpc>
              <a:spcAft>
                <a:spcPts val="1200"/>
              </a:spcAft>
            </a:pPr>
            <a:r>
              <a:rPr lang="en-US" dirty="0">
                <a:gradFill>
                  <a:gsLst>
                    <a:gs pos="2917">
                      <a:schemeClr val="tx1"/>
                    </a:gs>
                    <a:gs pos="30000">
                      <a:schemeClr val="tx1"/>
                    </a:gs>
                  </a:gsLst>
                  <a:lin ang="5400000" scaled="0"/>
                </a:gradFill>
                <a:latin typeface="+mj-lt"/>
              </a:rPr>
              <a:t>Programmatic scale-out</a:t>
            </a:r>
          </a:p>
          <a:p>
            <a:pPr>
              <a:lnSpc>
                <a:spcPct val="90000"/>
              </a:lnSpc>
              <a:spcAft>
                <a:spcPts val="1200"/>
              </a:spcAft>
            </a:pPr>
            <a:r>
              <a:rPr lang="en-US" dirty="0" smtClean="0">
                <a:gradFill>
                  <a:gsLst>
                    <a:gs pos="2917">
                      <a:schemeClr val="tx1"/>
                    </a:gs>
                    <a:gs pos="30000">
                      <a:schemeClr val="tx1"/>
                    </a:gs>
                  </a:gsLst>
                  <a:lin ang="5400000" scaled="0"/>
                </a:gra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Self-service restore</a:t>
            </a:r>
          </a:p>
          <a:p>
            <a:pPr>
              <a:lnSpc>
                <a:spcPct val="90000"/>
              </a:lnSpc>
              <a:spcAft>
                <a:spcPts val="1200"/>
              </a:spcAft>
            </a:pPr>
            <a:r>
              <a:rPr lang="en-US" dirty="0" smtClean="0">
                <a:gradFill>
                  <a:gsLst>
                    <a:gs pos="2917">
                      <a:schemeClr val="tx1"/>
                    </a:gs>
                    <a:gs pos="30000">
                      <a:schemeClr val="tx1"/>
                    </a:gs>
                  </a:gsLst>
                  <a:lin ang="5400000" scaled="0"/>
                </a:gradFill>
                <a:latin typeface="+mj-lt"/>
              </a:rPr>
              <a:t>Disaster recovery</a:t>
            </a:r>
          </a:p>
          <a:p>
            <a:pPr>
              <a:lnSpc>
                <a:spcPct val="90000"/>
              </a:lnSpc>
              <a:spcAft>
                <a:spcPts val="1200"/>
              </a:spcAft>
            </a:pPr>
            <a:r>
              <a:rPr lang="en-US" dirty="0" smtClean="0">
                <a:gradFill>
                  <a:gsLst>
                    <a:gs pos="2917">
                      <a:schemeClr val="tx1"/>
                    </a:gs>
                    <a:gs pos="30000">
                      <a:schemeClr val="tx1"/>
                    </a:gs>
                  </a:gsLst>
                  <a:lin ang="5400000" scaled="0"/>
                </a:gra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Familiar tools</a:t>
            </a:r>
          </a:p>
          <a:p>
            <a:pPr>
              <a:lnSpc>
                <a:spcPct val="90000"/>
              </a:lnSpc>
              <a:spcAft>
                <a:spcPts val="1200"/>
              </a:spcAft>
            </a:pPr>
            <a:r>
              <a:rPr lang="en-US" dirty="0" smtClean="0">
                <a:gradFill>
                  <a:gsLst>
                    <a:gs pos="2917">
                      <a:schemeClr val="tx1"/>
                    </a:gs>
                    <a:gs pos="30000">
                      <a:schemeClr val="tx1"/>
                    </a:gs>
                  </a:gsLst>
                  <a:lin ang="5400000" scaled="0"/>
                </a:gradFill>
                <a:latin typeface="+mj-lt"/>
              </a:rPr>
              <a:t>Programmatic</a:t>
            </a:r>
          </a:p>
          <a:p>
            <a:pPr>
              <a:lnSpc>
                <a:spcPct val="90000"/>
              </a:lnSpc>
              <a:spcAft>
                <a:spcPts val="1200"/>
              </a:spcAft>
            </a:pPr>
            <a:r>
              <a:rPr lang="en-US" dirty="0" smtClean="0">
                <a:gradFill>
                  <a:gsLst>
                    <a:gs pos="2917">
                      <a:schemeClr val="tx1"/>
                    </a:gs>
                    <a:gs pos="30000">
                      <a:schemeClr val="tx1"/>
                    </a:gs>
                  </a:gsLst>
                  <a:lin ang="5400000" scaled="0"/>
                </a:gra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latin typeface="+mj-lt"/>
                <a:ea typeface="Calibri" panose="020F0502020204030204" pitchFamily="34" charset="0"/>
                <a:cs typeface="Calibri" panose="020F0502020204030204" pitchFamily="34" charset="0"/>
              </a:rPr>
              <a:t>A relational </a:t>
            </a:r>
            <a:r>
              <a:rPr lang="en-US" sz="2000" b="1" dirty="0" smtClean="0">
                <a:latin typeface="+mj-lt"/>
                <a:ea typeface="Calibri" panose="020F0502020204030204" pitchFamily="34" charset="0"/>
                <a:cs typeface="Calibri" panose="020F0502020204030204" pitchFamily="34" charset="0"/>
              </a:rPr>
              <a:t>database-as-a-service</a:t>
            </a:r>
            <a:r>
              <a:rPr lang="en-US" sz="2000" dirty="0" smtClean="0">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latin typeface="+mj-lt"/>
                <a:ea typeface="Calibri" panose="020F0502020204030204" pitchFamily="34" charset="0"/>
                <a:cs typeface="Calibri" panose="020F0502020204030204" pitchFamily="34" charset="0"/>
              </a:rPr>
              <a:t>For cloud-designed apps when </a:t>
            </a:r>
            <a:r>
              <a:rPr lang="en-US" sz="2000" b="1" dirty="0" smtClean="0">
                <a:latin typeface="+mj-lt"/>
                <a:ea typeface="Calibri" panose="020F0502020204030204" pitchFamily="34" charset="0"/>
                <a:cs typeface="Calibri" panose="020F0502020204030204" pitchFamily="34" charset="0"/>
              </a:rPr>
              <a:t>near-zero administration </a:t>
            </a:r>
            <a:r>
              <a:rPr lang="en-US" sz="2000" dirty="0" smtClean="0">
                <a:latin typeface="+mj-lt"/>
                <a:ea typeface="Calibri" panose="020F0502020204030204" pitchFamily="34" charset="0"/>
                <a:cs typeface="Calibri" panose="020F0502020204030204" pitchFamily="34" charset="0"/>
              </a:rPr>
              <a:t>and </a:t>
            </a:r>
            <a:r>
              <a:rPr lang="en-US" sz="2000" b="1" dirty="0" smtClean="0">
                <a:latin typeface="+mj-lt"/>
                <a:ea typeface="Calibri" panose="020F0502020204030204" pitchFamily="34" charset="0"/>
                <a:cs typeface="Calibri" panose="020F0502020204030204" pitchFamily="34" charset="0"/>
              </a:rPr>
              <a:t>enterprise-grade </a:t>
            </a:r>
            <a:r>
              <a:rPr lang="en-US" sz="2000" dirty="0" smtClean="0">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latin typeface="+mj-lt"/>
              </a:rPr>
              <a:t>Perfect for cloud </a:t>
            </a:r>
            <a:r>
              <a:rPr lang="en-US" sz="2000" b="1" dirty="0" smtClean="0">
                <a:latin typeface="+mj-lt"/>
              </a:rPr>
              <a:t>architects and developers </a:t>
            </a:r>
            <a:r>
              <a:rPr lang="en-US" sz="2000" dirty="0" smtClean="0">
                <a:latin typeface="+mj-lt"/>
              </a:rPr>
              <a:t>looking for programmatic DBA-like functionality.</a:t>
            </a:r>
            <a:endParaRPr lang="en-US" sz="2000" dirty="0">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6853034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21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1986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341717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917007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50043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6679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41730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5406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20872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05178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53766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33835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87320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8283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349939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85656" cy="1325563"/>
          </a:xfr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70000" lnSpcReduction="2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411832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9789" y="1609796"/>
            <a:ext cx="5157787" cy="561211"/>
          </a:xfr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2"/>
          </p:nvPr>
        </p:nvSpPr>
        <p:spPr>
          <a:xfrm>
            <a:off x="839789" y="2171007"/>
            <a:ext cx="5157787" cy="3331714"/>
          </a:xfrm>
        </p:spPr>
        <p:txBody>
          <a:bodyPr>
            <a:normAutofit fontScale="62500" lnSpcReduction="20000"/>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3"/>
          </p:nvPr>
        </p:nvSpPr>
        <p:spPr>
          <a:xfrm>
            <a:off x="6172200" y="1609796"/>
            <a:ext cx="5183188" cy="561211"/>
          </a:xfr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
          </p:nvPr>
        </p:nvSpPr>
        <p:spPr>
          <a:xfrm>
            <a:off x="6172200" y="2171007"/>
            <a:ext cx="5183188" cy="3331714"/>
          </a:xfrm>
        </p:spPr>
        <p:txBody>
          <a:bodyPr>
            <a:normAutofit fontScale="62500" lnSpcReduction="20000"/>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742172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563600985"/>
      </p:ext>
    </p:extLst>
  </p:cSld>
  <p:clrMapOvr>
    <a:masterClrMapping/>
  </p:clrMapOvr>
  <p:transition>
    <p:fade/>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2100962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269239" y="1189176"/>
            <a:ext cx="11653523" cy="5211623"/>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62565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242"/>
            <a:ext cx="10515600" cy="1325563"/>
          </a:xfr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929641" y="1583735"/>
            <a:ext cx="10515600" cy="4442752"/>
          </a:xfr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8667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1"/>
          </p:nvPr>
        </p:nvSpPr>
        <p:spPr>
          <a:xfrm>
            <a:off x="929898" y="1189178"/>
            <a:ext cx="10423901" cy="4987786"/>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71623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1542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85695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5"/>
            <a:ext cx="5354256" cy="4351338"/>
          </a:xfrm>
        </p:spPr>
        <p:txBody>
          <a:bodyPr>
            <a:normAutofit fontScale="62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06163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1"/>
          </p:nvPr>
        </p:nvSpPr>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 xmlns:a16="http://schemas.microsoft.com/office/drawing/2014/main" val="605670846"/>
                    </a:ext>
                  </a:extLst>
                </a:gridCol>
                <a:gridCol w="436880">
                  <a:extLst>
                    <a:ext uri="{9D8B030D-6E8A-4147-A177-3AD203B41FA5}">
                      <a16:colId xmlns="" xmlns:a16="http://schemas.microsoft.com/office/drawing/2014/main" val="2474575872"/>
                    </a:ext>
                  </a:extLst>
                </a:gridCol>
                <a:gridCol w="708343">
                  <a:extLst>
                    <a:ext uri="{9D8B030D-6E8A-4147-A177-3AD203B41FA5}">
                      <a16:colId xmlns="" xmlns:a16="http://schemas.microsoft.com/office/drawing/2014/main" val="3015633701"/>
                    </a:ext>
                  </a:extLst>
                </a:gridCol>
                <a:gridCol w="830580">
                  <a:extLst>
                    <a:ext uri="{9D8B030D-6E8A-4147-A177-3AD203B41FA5}">
                      <a16:colId xmlns="" xmlns:a16="http://schemas.microsoft.com/office/drawing/2014/main"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 xmlns:a16="http://schemas.microsoft.com/office/drawing/2014/main"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 xmlns:a16="http://schemas.microsoft.com/office/drawing/2014/main" val="1066098924"/>
                    </a:ext>
                  </a:extLst>
                </a:gridCol>
                <a:gridCol w="890905">
                  <a:extLst>
                    <a:ext uri="{9D8B030D-6E8A-4147-A177-3AD203B41FA5}">
                      <a16:colId xmlns="" xmlns:a16="http://schemas.microsoft.com/office/drawing/2014/main"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 xmlns:a16="http://schemas.microsoft.com/office/drawing/2014/main"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 xmlns:a16="http://schemas.microsoft.com/office/drawing/2014/main"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 xmlns:a16="http://schemas.microsoft.com/office/drawing/2014/main" val="2293575361"/>
                    </a:ext>
                  </a:extLst>
                </a:gridCol>
                <a:gridCol w="436880">
                  <a:extLst>
                    <a:ext uri="{9D8B030D-6E8A-4147-A177-3AD203B41FA5}">
                      <a16:colId xmlns="" xmlns:a16="http://schemas.microsoft.com/office/drawing/2014/main" val="3239324611"/>
                    </a:ext>
                  </a:extLst>
                </a:gridCol>
                <a:gridCol w="373380">
                  <a:extLst>
                    <a:ext uri="{9D8B030D-6E8A-4147-A177-3AD203B41FA5}">
                      <a16:colId xmlns="" xmlns:a16="http://schemas.microsoft.com/office/drawing/2014/main" val="2407542853"/>
                    </a:ext>
                  </a:extLst>
                </a:gridCol>
                <a:gridCol w="384493">
                  <a:extLst>
                    <a:ext uri="{9D8B030D-6E8A-4147-A177-3AD203B41FA5}">
                      <a16:colId xmlns="" xmlns:a16="http://schemas.microsoft.com/office/drawing/2014/main" val="1620385894"/>
                    </a:ext>
                  </a:extLst>
                </a:gridCol>
                <a:gridCol w="614274">
                  <a:extLst>
                    <a:ext uri="{9D8B030D-6E8A-4147-A177-3AD203B41FA5}">
                      <a16:colId xmlns="" xmlns:a16="http://schemas.microsoft.com/office/drawing/2014/main"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 xmlns:a16="http://schemas.microsoft.com/office/drawing/2014/main"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 xmlns:a16="http://schemas.microsoft.com/office/drawing/2014/main"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 xmlns:a16="http://schemas.microsoft.com/office/drawing/2014/main"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844766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943827" y="1690688"/>
            <a:ext cx="4625369" cy="4351338"/>
          </a:xfrm>
        </p:spPr>
        <p:txBody>
          <a:bodyPr>
            <a:normAutofit fontScale="92500" lnSpcReduction="10000"/>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51154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386308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004683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lnSpcReduction="10000"/>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4745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p:nvPr>
        </p:nvSpPr>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53126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p:nvPr>
        </p:nvSpPr>
        <p:spPr>
          <a:xfrm>
            <a:off x="838200" y="365125"/>
            <a:ext cx="10515600" cy="1325563"/>
          </a:xfr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68132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525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681932"/>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1420405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433737"/>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11044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95986" y="71079"/>
            <a:ext cx="10515600" cy="1325563"/>
          </a:xfr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73679" y="1277027"/>
            <a:ext cx="10515600" cy="4351338"/>
          </a:xfrm>
        </p:spPr>
        <p:txBody>
          <a:bodyPr>
            <a:normAutofit fontScale="4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3510679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1" y="1446803"/>
            <a:ext cx="8165472" cy="4351338"/>
          </a:xfrm>
        </p:spPr>
        <p:txBody>
          <a:bodyPr>
            <a:normAutofit fontScale="4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904352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3"/>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388917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2359421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248" y="1020933"/>
            <a:ext cx="10515600" cy="4654313"/>
          </a:xfr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242598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1"/>
          </p:nvPr>
        </p:nvSpPr>
        <p:spPr>
          <a:xfrm>
            <a:off x="519248" y="1223173"/>
            <a:ext cx="10515600" cy="4654313"/>
          </a:xfrm>
        </p:spPr>
        <p:txBody>
          <a:bodyPr>
            <a:normAutofit lnSpcReduction="10000"/>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197740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519248" y="228601"/>
            <a:ext cx="11505485" cy="609398"/>
          </a:xfr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251615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10"/>
          </p:nvPr>
        </p:nvSpPr>
        <p:spPr>
          <a:xfrm>
            <a:off x="519248" y="1196340"/>
            <a:ext cx="11151917" cy="1495794"/>
          </a:xfr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61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391572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50184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83681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364435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167779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55000" lnSpcReduction="2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593308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299736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4"/>
            <a:ext cx="10515600" cy="4897293"/>
          </a:xfrm>
        </p:spPr>
        <p:txBody>
          <a:bodyPr>
            <a:normAutofit fontScale="92500" lnSpcReduction="20000"/>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69003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199" y="1825624"/>
            <a:ext cx="11353801" cy="4897293"/>
          </a:xfr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87110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3022724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3"/>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09335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2086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3123679143"/>
      </p:ext>
    </p:extLst>
  </p:cSld>
  <p:clrMapOvr>
    <a:masterClrMapping/>
  </p:clrMapOvr>
  <p:transition>
    <p:fade/>
  </p:transition>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19609696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3882737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50552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458127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SQL Server</a:t>
              </a:r>
            </a:p>
            <a:p>
              <a:pPr algn="ctr" defTabSz="914099" fontAlgn="base">
                <a:spcBef>
                  <a:spcPct val="0"/>
                </a:spcBef>
                <a:spcAft>
                  <a:spcPct val="0"/>
                </a:spcAft>
              </a:pPr>
              <a:r>
                <a:rPr lang="en-US" sz="1200" dirty="0">
                  <a:solidFill>
                    <a:sysClr val="windowText" lastClr="000000"/>
                  </a:solidFill>
                  <a:latin typeface="+mj-lt"/>
                </a:rPr>
                <a:t>Applications</a:t>
              </a:r>
            </a:p>
            <a:p>
              <a:pPr algn="ctr" defTabSz="914099" fontAlgn="base">
                <a:spcBef>
                  <a:spcPct val="0"/>
                </a:spcBef>
                <a:spcAft>
                  <a:spcPct val="0"/>
                </a:spcAft>
              </a:pPr>
              <a:r>
                <a:rPr lang="en-US" sz="1200"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71342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3"/>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2399476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259847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944198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22838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471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6.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58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392121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503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966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61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1646937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07247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181</a:t>
            </a:fld>
            <a:endParaRPr lang="en-US" dirty="0"/>
          </a:p>
        </p:txBody>
      </p:sp>
    </p:spTree>
    <p:extLst>
      <p:ext uri="{BB962C8B-B14F-4D97-AF65-F5344CB8AC3E}">
        <p14:creationId xmlns:p14="http://schemas.microsoft.com/office/powerpoint/2010/main" val="3066929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8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20962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51080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415612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452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56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338897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116975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sv-SE" sz="4400" spc="-51" dirty="0" smtClean="0">
                <a:solidFill>
                  <a:schemeClr val="bg2"/>
                </a:solidFill>
                <a:latin typeface="+mj-lt"/>
              </a:rPr>
              <a:t>In </a:t>
            </a:r>
            <a:r>
              <a:rPr lang="sv-SE" sz="4400" spc="-51" dirty="0">
                <a:solidFill>
                  <a:schemeClr val="bg2"/>
                </a:solidFill>
                <a:latin typeface="+mj-lt"/>
              </a:rPr>
              <a:t>the </a:t>
            </a:r>
            <a:r>
              <a:rPr lang="sv-SE" sz="4400" spc="-51" dirty="0" smtClean="0">
                <a:solidFill>
                  <a:schemeClr val="bg2"/>
                </a:solidFill>
                <a:latin typeface="+mj-lt"/>
              </a:rPr>
              <a:t>Preview </a:t>
            </a:r>
            <a:r>
              <a:rPr lang="sv-SE" sz="4400" spc="-51" dirty="0">
                <a:solidFill>
                  <a:schemeClr val="bg2"/>
                </a:solidFill>
                <a:latin typeface="+mj-lt"/>
              </a:rPr>
              <a:t>Management </a:t>
            </a:r>
            <a:r>
              <a:rPr lang="sv-SE" sz="4400" spc="-51" dirty="0" smtClean="0">
                <a:solidFill>
                  <a:schemeClr val="bg2"/>
                </a:solidFill>
                <a:latin typeface="+mj-lt"/>
              </a:rPr>
              <a:t>Portal</a:t>
            </a:r>
            <a:r>
              <a:rPr lang="en-US" sz="4400" spc="-51" dirty="0" smtClean="0">
                <a:solidFill>
                  <a:schemeClr val="bg2"/>
                </a:solidFill>
                <a:latin typeface="+mj-lt"/>
              </a:rPr>
              <a:t/>
            </a:r>
            <a:br>
              <a:rPr lang="en-US" sz="4400" spc="-51" dirty="0" smtClean="0">
                <a:solidFill>
                  <a:schemeClr val="bg2"/>
                </a:solidFill>
                <a:latin typeface="+mj-lt"/>
              </a:rPr>
            </a:br>
            <a:r>
              <a:rPr lang="en-US" sz="4400" spc="-51" dirty="0" smtClean="0">
                <a:solidFill>
                  <a:schemeClr val="bg2"/>
                </a:solidFill>
                <a:latin typeface="+mj-lt"/>
              </a:rPr>
              <a:t>create </a:t>
            </a:r>
            <a:r>
              <a:rPr lang="en-US" sz="4400" spc="-51" dirty="0">
                <a:solidFill>
                  <a:schemeClr val="bg2"/>
                </a:solidFill>
                <a:latin typeface="+mj-lt"/>
              </a:rPr>
              <a:t>a SQL Database </a:t>
            </a:r>
            <a:r>
              <a:rPr lang="en-US" sz="4400" spc="-51" dirty="0" smtClean="0">
                <a:solidFill>
                  <a:schemeClr val="bg2"/>
                </a:solidFill>
                <a:latin typeface="+mj-lt"/>
              </a:rPr>
              <a:t>server</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3" name="Picture 2"/>
          <p:cNvPicPr>
            <a:picLocks noChangeAspect="1"/>
          </p:cNvPicPr>
          <p:nvPr/>
        </p:nvPicPr>
        <p:blipFill>
          <a:blip r:embed="rId4"/>
          <a:stretch>
            <a:fillRect/>
          </a:stretch>
        </p:blipFill>
        <p:spPr>
          <a:xfrm>
            <a:off x="2609671" y="2139706"/>
            <a:ext cx="6972658" cy="3454578"/>
          </a:xfrm>
          <a:prstGeom prst="rect">
            <a:avLst/>
          </a:prstGeom>
        </p:spPr>
      </p:pic>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1801576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123398" y="519763"/>
            <a:ext cx="5945204" cy="164400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en-US" sz="4400" spc="-51" dirty="0" smtClean="0">
                <a:solidFill>
                  <a:schemeClr val="bg2"/>
                </a:solidFill>
                <a:latin typeface="+mj-lt"/>
              </a:rPr>
              <a:t>In </a:t>
            </a:r>
            <a:r>
              <a:rPr lang="en-US" sz="4400" spc="-51" dirty="0">
                <a:solidFill>
                  <a:schemeClr val="bg2"/>
                </a:solidFill>
                <a:latin typeface="+mj-lt"/>
              </a:rPr>
              <a:t>the </a:t>
            </a:r>
            <a:r>
              <a:rPr lang="en-US" sz="4400" spc="-51" dirty="0" smtClean="0">
                <a:solidFill>
                  <a:schemeClr val="bg2"/>
                </a:solidFill>
                <a:latin typeface="+mj-lt"/>
              </a:rPr>
              <a:t>Management Portal</a:t>
            </a:r>
            <a:br>
              <a:rPr lang="en-US" sz="4400" spc="-51" dirty="0" smtClean="0">
                <a:solidFill>
                  <a:schemeClr val="bg2"/>
                </a:solidFill>
                <a:latin typeface="+mj-lt"/>
              </a:rPr>
            </a:br>
            <a:r>
              <a:rPr lang="en-US" sz="4400" spc="-51" dirty="0" smtClean="0">
                <a:solidFill>
                  <a:schemeClr val="bg2"/>
                </a:solidFill>
                <a:latin typeface="+mj-lt"/>
              </a:rPr>
              <a:t>add </a:t>
            </a:r>
            <a:r>
              <a:rPr lang="en-US" sz="4400" spc="-51" dirty="0">
                <a:solidFill>
                  <a:schemeClr val="bg2"/>
                </a:solidFill>
                <a:latin typeface="+mj-lt"/>
              </a:rPr>
              <a:t>firewall </a:t>
            </a:r>
            <a:r>
              <a:rPr lang="en-US" sz="4400" spc="-51" dirty="0" smtClean="0">
                <a:solidFill>
                  <a:schemeClr val="bg2"/>
                </a:solidFill>
                <a:latin typeface="+mj-lt"/>
              </a:rPr>
              <a:t>rules</a:t>
            </a:r>
            <a:endParaRPr lang="en-US" sz="32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3556" name="Picture 4" descr="C:\Users\Magnus\AppData\Local\Temp\SNAGHTML244ed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021" y="2139706"/>
            <a:ext cx="8291959" cy="4324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272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08572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10" name="Content Placeholder 2"/>
          <p:cNvSpPr txBox="1">
            <a:spLocks/>
          </p:cNvSpPr>
          <p:nvPr/>
        </p:nvSpPr>
        <p:spPr>
          <a:xfrm>
            <a:off x="0" y="1"/>
            <a:ext cx="12191999" cy="232913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Microsoft Azure Platform PowerShell </a:t>
            </a:r>
            <a:r>
              <a:rPr lang="en-US" sz="4000" spc="-51" dirty="0" err="1">
                <a:solidFill>
                  <a:schemeClr val="bg2"/>
                </a:solidFill>
                <a:latin typeface="+mj-lt"/>
              </a:rPr>
              <a:t>cmdlets</a:t>
            </a:r>
            <a:endParaRPr lang="en-US" sz="4000" spc="-51" dirty="0">
              <a:solidFill>
                <a:schemeClr val="bg2"/>
              </a:solidFill>
              <a:latin typeface="+mj-lt"/>
            </a:endParaRPr>
          </a:p>
        </p:txBody>
      </p:sp>
      <p:pic>
        <p:nvPicPr>
          <p:cNvPr id="11" name="Picture 10"/>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812801"/>
            <a:ext cx="12191999" cy="70353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Azure </a:t>
            </a:r>
            <a:r>
              <a:rPr lang="en-US" sz="4000" spc="-51" dirty="0">
                <a:solidFill>
                  <a:schemeClr val="bg2"/>
                </a:solidFill>
                <a:latin typeface="+mj-lt"/>
              </a:rPr>
              <a:t>Cross-Platform Command-Line Interface (xplat-cli)</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4" name="Picture 3"/>
          <p:cNvPicPr>
            <a:picLocks noChangeAspect="1"/>
          </p:cNvPicPr>
          <p:nvPr/>
        </p:nvPicPr>
        <p:blipFill>
          <a:blip r:embed="rId3"/>
          <a:stretch>
            <a:fillRect/>
          </a:stretch>
        </p:blipFill>
        <p:spPr>
          <a:xfrm>
            <a:off x="1358655" y="1523902"/>
            <a:ext cx="9474687" cy="3810196"/>
          </a:xfrm>
          <a:prstGeom prst="rect">
            <a:avLst/>
          </a:prstGeom>
        </p:spPr>
      </p:pic>
      <p:pic>
        <p:nvPicPr>
          <p:cNvPr id="10" name="Picture 9"/>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754854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6045200"/>
            <a:ext cx="12191999" cy="8128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http://bit.ly/azureAutoma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smtClean="0">
                <a:solidFill>
                  <a:schemeClr val="bg2"/>
                </a:solidFill>
              </a:rPr>
              <a:t>Automation always pays off</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155" y="2190577"/>
            <a:ext cx="2781688" cy="2476846"/>
          </a:xfrm>
          <a:prstGeom prst="rect">
            <a:avLst/>
          </a:prstGeom>
        </p:spPr>
      </p:pic>
      <p:pic>
        <p:nvPicPr>
          <p:cNvPr id="7" name="Picture 6"/>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9497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Server and a SQL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44933904"/>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solidFill>
                      <a:srgbClr val="658E00"/>
                    </a:solidFill>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solidFill>
                            <a:srgbClr val="005D7E"/>
                          </a:solidFill>
                          <a:latin typeface="+mj-lt"/>
                        </a:rPr>
                        <a:t>Max DB Size</a:t>
                      </a:r>
                      <a:endParaRPr lang="en-US" dirty="0">
                        <a:solidFill>
                          <a:srgbClr val="005D7E"/>
                        </a:solidFill>
                        <a:latin typeface="+mj-lt"/>
                      </a:endParaRPr>
                    </a:p>
                  </a:txBody>
                  <a:tcPr/>
                </a:tc>
                <a:tc>
                  <a:txBody>
                    <a:bodyPr/>
                    <a:lstStyle/>
                    <a:p>
                      <a:r>
                        <a:rPr lang="en-US" dirty="0" smtClean="0">
                          <a:solidFill>
                            <a:srgbClr val="005D7E"/>
                          </a:solidFill>
                          <a:latin typeface="+mj-lt"/>
                        </a:rPr>
                        <a:t>Transaction </a:t>
                      </a:r>
                      <a:r>
                        <a:rPr lang="en-US" dirty="0" err="1" smtClean="0">
                          <a:solidFill>
                            <a:srgbClr val="005D7E"/>
                          </a:solidFill>
                          <a:latin typeface="+mj-lt"/>
                        </a:rPr>
                        <a:t>Perf</a:t>
                      </a:r>
                      <a:r>
                        <a:rPr lang="en-US" dirty="0" smtClean="0">
                          <a:solidFill>
                            <a:srgbClr val="005D7E"/>
                          </a:solidFill>
                          <a:latin typeface="+mj-lt"/>
                        </a:rPr>
                        <a:t>. Objective</a:t>
                      </a:r>
                      <a:endParaRPr lang="en-US" dirty="0">
                        <a:solidFill>
                          <a:srgbClr val="005D7E"/>
                        </a:solidFill>
                        <a:latin typeface="+mj-lt"/>
                      </a:endParaRPr>
                    </a:p>
                  </a:txBody>
                  <a:tcPr/>
                </a:tc>
                <a:tc>
                  <a:txBody>
                    <a:bodyPr/>
                    <a:lstStyle/>
                    <a:p>
                      <a:r>
                        <a:rPr lang="en-US" dirty="0" smtClean="0">
                          <a:solidFill>
                            <a:srgbClr val="005D7E"/>
                          </a:solidFill>
                          <a:latin typeface="+mj-lt"/>
                        </a:rPr>
                        <a:t>DTU</a:t>
                      </a:r>
                      <a:endParaRPr lang="en-US" dirty="0">
                        <a:solidFill>
                          <a:srgbClr val="005D7E"/>
                        </a:solidFill>
                        <a:latin typeface="+mj-lt"/>
                      </a:endParaRPr>
                    </a:p>
                  </a:txBody>
                  <a:tcPr/>
                </a:tc>
                <a:tc>
                  <a:txBody>
                    <a:bodyPr/>
                    <a:lstStyle/>
                    <a:p>
                      <a:r>
                        <a:rPr lang="en-US" dirty="0" smtClean="0">
                          <a:solidFill>
                            <a:srgbClr val="005D7E"/>
                          </a:solidFill>
                          <a:latin typeface="+mj-lt"/>
                        </a:rPr>
                        <a:t>PITR</a:t>
                      </a:r>
                      <a:endParaRPr lang="en-US" dirty="0">
                        <a:solidFill>
                          <a:srgbClr val="005D7E"/>
                        </a:solidFill>
                        <a:latin typeface="+mj-lt"/>
                      </a:endParaRPr>
                    </a:p>
                  </a:txBody>
                  <a:tcPr/>
                </a:tc>
                <a:tc>
                  <a:txBody>
                    <a:bodyPr/>
                    <a:lstStyle/>
                    <a:p>
                      <a:r>
                        <a:rPr lang="en-US" dirty="0" smtClean="0">
                          <a:solidFill>
                            <a:srgbClr val="005D7E"/>
                          </a:solidFill>
                          <a:latin typeface="+mj-lt"/>
                        </a:rPr>
                        <a:t>DR / GEO-Rep</a:t>
                      </a:r>
                      <a:endParaRPr lang="en-US" dirty="0">
                        <a:solidFill>
                          <a:srgbClr val="005D7E"/>
                        </a:solidFill>
                        <a:latin typeface="+mj-lt"/>
                      </a:endParaRPr>
                    </a:p>
                  </a:txBody>
                  <a:tcPr/>
                </a:tc>
              </a:tr>
              <a:tr h="854541">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sz="1600" dirty="0" smtClean="0">
                          <a:solidFill>
                            <a:srgbClr val="005D7E"/>
                          </a:solidFill>
                          <a:latin typeface="+mj-lt"/>
                        </a:rPr>
                        <a:t>Small</a:t>
                      </a:r>
                      <a:r>
                        <a:rPr lang="en-US" sz="1600" baseline="0" dirty="0" smtClean="0">
                          <a:solidFill>
                            <a:srgbClr val="005D7E"/>
                          </a:solidFill>
                          <a:latin typeface="+mj-lt"/>
                        </a:rPr>
                        <a:t> DB, SQL </a:t>
                      </a:r>
                      <a:r>
                        <a:rPr lang="en-US" sz="1600" baseline="0" dirty="0" err="1" smtClean="0">
                          <a:solidFill>
                            <a:srgbClr val="005D7E"/>
                          </a:solidFill>
                          <a:latin typeface="+mj-lt"/>
                        </a:rPr>
                        <a:t>opp</a:t>
                      </a:r>
                      <a:endParaRPr lang="en-US" dirty="0">
                        <a:solidFill>
                          <a:srgbClr val="005D7E"/>
                        </a:solidFill>
                        <a:latin typeface="+mj-lt"/>
                      </a:endParaRPr>
                    </a:p>
                  </a:txBody>
                  <a:tcPr/>
                </a:tc>
                <a:tc>
                  <a:txBody>
                    <a:bodyPr/>
                    <a:lstStyle/>
                    <a:p>
                      <a:r>
                        <a:rPr lang="en-US" dirty="0" smtClean="0">
                          <a:solidFill>
                            <a:srgbClr val="005D7E"/>
                          </a:solidFill>
                          <a:latin typeface="+mj-lt"/>
                        </a:rPr>
                        <a:t>2 GB</a:t>
                      </a:r>
                      <a:endParaRPr lang="en-US" dirty="0">
                        <a:solidFill>
                          <a:srgbClr val="005D7E"/>
                        </a:solidFill>
                        <a:latin typeface="+mj-lt"/>
                      </a:endParaRPr>
                    </a:p>
                  </a:txBody>
                  <a:tcPr/>
                </a:tc>
                <a:tc>
                  <a:txBody>
                    <a:bodyPr/>
                    <a:lstStyle/>
                    <a:p>
                      <a:r>
                        <a:rPr lang="en-US" dirty="0" smtClean="0">
                          <a:solidFill>
                            <a:srgbClr val="005D7E"/>
                          </a:solidFill>
                          <a:latin typeface="+mj-lt"/>
                        </a:rPr>
                        <a:t>Reliability</a:t>
                      </a:r>
                      <a:r>
                        <a:rPr lang="en-US" baseline="0" dirty="0" smtClean="0">
                          <a:solidFill>
                            <a:srgbClr val="005D7E"/>
                          </a:solidFill>
                          <a:latin typeface="+mj-lt"/>
                        </a:rPr>
                        <a:t> / Hr.</a:t>
                      </a:r>
                      <a:endParaRPr lang="en-US" dirty="0">
                        <a:solidFill>
                          <a:srgbClr val="005D7E"/>
                        </a:solidFill>
                        <a:latin typeface="+mj-lt"/>
                      </a:endParaRPr>
                    </a:p>
                  </a:txBody>
                  <a:tcPr/>
                </a:tc>
                <a:tc>
                  <a:txBody>
                    <a:bodyPr/>
                    <a:lstStyle/>
                    <a:p>
                      <a:r>
                        <a:rPr lang="en-US" dirty="0" smtClean="0">
                          <a:solidFill>
                            <a:srgbClr val="005D7E"/>
                          </a:solidFill>
                          <a:latin typeface="+mj-lt"/>
                        </a:rPr>
                        <a:t>5</a:t>
                      </a:r>
                      <a:endParaRPr lang="en-US" dirty="0">
                        <a:solidFill>
                          <a:srgbClr val="005D7E"/>
                        </a:solidFill>
                        <a:latin typeface="+mj-lt"/>
                      </a:endParaRPr>
                    </a:p>
                  </a:txBody>
                  <a:tcPr/>
                </a:tc>
                <a:tc>
                  <a:txBody>
                    <a:bodyPr/>
                    <a:lstStyle/>
                    <a:p>
                      <a:r>
                        <a:rPr lang="en-US" dirty="0" smtClean="0">
                          <a:solidFill>
                            <a:srgbClr val="005D7E"/>
                          </a:solidFill>
                          <a:latin typeface="+mj-lt"/>
                        </a:rPr>
                        <a:t>7 Days</a:t>
                      </a:r>
                      <a:endParaRPr lang="en-US" dirty="0">
                        <a:solidFill>
                          <a:srgbClr val="005D7E"/>
                        </a:solidFill>
                        <a:latin typeface="+mj-lt"/>
                      </a:endParaRPr>
                    </a:p>
                  </a:txBody>
                  <a:tcPr/>
                </a:tc>
                <a:tc>
                  <a:txBody>
                    <a:bodyPr/>
                    <a:lstStyle/>
                    <a:p>
                      <a:r>
                        <a:rPr lang="en-US" dirty="0" smtClean="0">
                          <a:solidFill>
                            <a:srgbClr val="005D7E"/>
                          </a:solidFill>
                          <a:latin typeface="+mj-lt"/>
                        </a:rPr>
                        <a:t>DB Copy + Manual Export</a:t>
                      </a:r>
                      <a:endParaRPr lang="en-US" dirty="0">
                        <a:solidFill>
                          <a:srgbClr val="005D7E"/>
                        </a:solidFill>
                        <a:latin typeface="+mj-lt"/>
                      </a:endParaRPr>
                    </a:p>
                  </a:txBody>
                  <a:tcPr/>
                </a:tc>
              </a:tr>
              <a:tr h="829178">
                <a:tc>
                  <a:txBody>
                    <a:bodyPr/>
                    <a:lstStyle/>
                    <a:p>
                      <a:r>
                        <a:rPr lang="en-US" dirty="0" smtClean="0">
                          <a:solidFill>
                            <a:srgbClr val="005D7E"/>
                          </a:solidFill>
                          <a:latin typeface="+mj-lt"/>
                        </a:rPr>
                        <a:t>Standard</a:t>
                      </a:r>
                      <a:endParaRPr lang="en-US" dirty="0">
                        <a:solidFill>
                          <a:srgbClr val="005D7E"/>
                        </a:solidFill>
                        <a:latin typeface="+mj-lt"/>
                      </a:endParaRPr>
                    </a:p>
                  </a:txBody>
                  <a:tcPr/>
                </a:tc>
                <a:tc>
                  <a:txBody>
                    <a:bodyPr/>
                    <a:lstStyle/>
                    <a:p>
                      <a:r>
                        <a:rPr lang="en-US" dirty="0" smtClean="0">
                          <a:solidFill>
                            <a:srgbClr val="005D7E"/>
                          </a:solidFill>
                          <a:latin typeface="+mj-lt"/>
                        </a:rPr>
                        <a:t>S0</a:t>
                      </a:r>
                      <a:br>
                        <a:rPr lang="en-US" dirty="0" smtClean="0">
                          <a:solidFill>
                            <a:srgbClr val="005D7E"/>
                          </a:solidFill>
                          <a:latin typeface="+mj-lt"/>
                        </a:rPr>
                      </a:br>
                      <a:r>
                        <a:rPr lang="en-US" dirty="0" smtClean="0">
                          <a:solidFill>
                            <a:srgbClr val="005D7E"/>
                          </a:solidFill>
                          <a:latin typeface="+mj-lt"/>
                        </a:rPr>
                        <a:t>S1</a:t>
                      </a:r>
                      <a:br>
                        <a:rPr lang="en-US" dirty="0" smtClean="0">
                          <a:solidFill>
                            <a:srgbClr val="005D7E"/>
                          </a:solidFill>
                          <a:latin typeface="+mj-lt"/>
                        </a:rPr>
                      </a:br>
                      <a:r>
                        <a:rPr lang="en-US" dirty="0" smtClean="0">
                          <a:solidFill>
                            <a:srgbClr val="005D7E"/>
                          </a:solidFill>
                          <a:latin typeface="+mj-lt"/>
                        </a:rPr>
                        <a:t>S2</a:t>
                      </a:r>
                      <a:endParaRPr lang="en-US" dirty="0">
                        <a:solidFill>
                          <a:srgbClr val="005D7E"/>
                        </a:solidFill>
                        <a:latin typeface="+mj-lt"/>
                      </a:endParaRPr>
                    </a:p>
                  </a:txBody>
                  <a:tcPr/>
                </a:tc>
                <a:tc>
                  <a:txBody>
                    <a:bodyPr/>
                    <a:lstStyle/>
                    <a:p>
                      <a:r>
                        <a:rPr lang="en-US" sz="1600" dirty="0" err="1" smtClean="0">
                          <a:solidFill>
                            <a:srgbClr val="005D7E"/>
                          </a:solidFill>
                          <a:latin typeface="+mj-lt"/>
                        </a:rPr>
                        <a:t>Wrkgp</a:t>
                      </a:r>
                      <a:r>
                        <a:rPr lang="en-US" sz="1600" dirty="0" smtClean="0">
                          <a:solidFill>
                            <a:srgbClr val="005D7E"/>
                          </a:solidFill>
                          <a:latin typeface="+mj-lt"/>
                        </a:rPr>
                        <a:t>/cloud</a:t>
                      </a:r>
                      <a:r>
                        <a:rPr lang="en-US" sz="1600" baseline="0" dirty="0" smtClean="0">
                          <a:solidFill>
                            <a:srgbClr val="005D7E"/>
                          </a:solidFill>
                          <a:latin typeface="+mj-lt"/>
                        </a:rPr>
                        <a:t> app, multiple concurrent  operations</a:t>
                      </a:r>
                      <a:endParaRPr lang="en-US" sz="1600" dirty="0">
                        <a:solidFill>
                          <a:srgbClr val="005D7E"/>
                        </a:solidFill>
                        <a:latin typeface="+mj-lt"/>
                      </a:endParaRPr>
                    </a:p>
                  </a:txBody>
                  <a:tcPr/>
                </a:tc>
                <a:tc>
                  <a:txBody>
                    <a:bodyPr/>
                    <a:lstStyle/>
                    <a:p>
                      <a:r>
                        <a:rPr lang="en-US" dirty="0" smtClean="0">
                          <a:solidFill>
                            <a:srgbClr val="005D7E"/>
                          </a:solidFill>
                          <a:latin typeface="+mj-lt"/>
                        </a:rPr>
                        <a:t>25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Min.</a:t>
                      </a:r>
                      <a:endParaRPr lang="en-US" dirty="0" smtClean="0">
                        <a:solidFill>
                          <a:srgbClr val="005D7E"/>
                        </a:solidFill>
                        <a:latin typeface="+mj-lt"/>
                      </a:endParaRPr>
                    </a:p>
                  </a:txBody>
                  <a:tcPr/>
                </a:tc>
                <a:tc>
                  <a:txBody>
                    <a:bodyPr/>
                    <a:lstStyle/>
                    <a:p>
                      <a:r>
                        <a:rPr lang="en-US" dirty="0" smtClean="0">
                          <a:solidFill>
                            <a:srgbClr val="005D7E"/>
                          </a:solidFill>
                          <a:latin typeface="+mj-lt"/>
                        </a:rPr>
                        <a:t>10</a:t>
                      </a:r>
                      <a:br>
                        <a:rPr lang="en-US" dirty="0" smtClean="0">
                          <a:solidFill>
                            <a:srgbClr val="005D7E"/>
                          </a:solidFill>
                          <a:latin typeface="+mj-lt"/>
                        </a:rPr>
                      </a:br>
                      <a:r>
                        <a:rPr lang="en-US" dirty="0" smtClean="0">
                          <a:solidFill>
                            <a:srgbClr val="005D7E"/>
                          </a:solidFill>
                          <a:latin typeface="+mj-lt"/>
                        </a:rPr>
                        <a:t>20</a:t>
                      </a:r>
                      <a:br>
                        <a:rPr lang="en-US" dirty="0" smtClean="0">
                          <a:solidFill>
                            <a:srgbClr val="005D7E"/>
                          </a:solidFill>
                          <a:latin typeface="+mj-lt"/>
                        </a:rPr>
                      </a:br>
                      <a:r>
                        <a:rPr lang="en-US" dirty="0" smtClean="0">
                          <a:solidFill>
                            <a:srgbClr val="005D7E"/>
                          </a:solidFill>
                          <a:latin typeface="+mj-lt"/>
                        </a:rPr>
                        <a:t>50</a:t>
                      </a:r>
                      <a:endParaRPr lang="en-US" dirty="0">
                        <a:solidFill>
                          <a:srgbClr val="005D7E"/>
                        </a:solidFill>
                        <a:latin typeface="+mj-lt"/>
                      </a:endParaRPr>
                    </a:p>
                  </a:txBody>
                  <a:tcPr/>
                </a:tc>
                <a:tc>
                  <a:txBody>
                    <a:bodyPr/>
                    <a:lstStyle/>
                    <a:p>
                      <a:r>
                        <a:rPr lang="en-US" dirty="0" smtClean="0">
                          <a:solidFill>
                            <a:srgbClr val="005D7E"/>
                          </a:solidFill>
                          <a:latin typeface="+mj-lt"/>
                        </a:rPr>
                        <a:t>14 Days</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DB Copy + Manual Export</a:t>
                      </a:r>
                    </a:p>
                  </a:txBody>
                  <a:tcPr/>
                </a:tc>
              </a:tr>
              <a:tr h="899032">
                <a:tc>
                  <a:txBody>
                    <a:bodyPr/>
                    <a:lstStyle/>
                    <a:p>
                      <a:r>
                        <a:rPr lang="en-US" dirty="0" smtClean="0">
                          <a:solidFill>
                            <a:srgbClr val="005D7E"/>
                          </a:solidFill>
                          <a:latin typeface="+mj-lt"/>
                        </a:rPr>
                        <a:t>Premium</a:t>
                      </a:r>
                      <a:endParaRPr lang="en-US" dirty="0">
                        <a:solidFill>
                          <a:srgbClr val="005D7E"/>
                        </a:solidFill>
                        <a:latin typeface="+mj-lt"/>
                      </a:endParaRPr>
                    </a:p>
                  </a:txBody>
                  <a:tcPr/>
                </a:tc>
                <a:tc>
                  <a:txBody>
                    <a:bodyPr/>
                    <a:lstStyle/>
                    <a:p>
                      <a:r>
                        <a:rPr lang="en-US" dirty="0" smtClean="0">
                          <a:solidFill>
                            <a:srgbClr val="005D7E"/>
                          </a:solidFill>
                          <a:latin typeface="+mj-lt"/>
                        </a:rPr>
                        <a:t>P1</a:t>
                      </a:r>
                      <a:r>
                        <a:rPr lang="en-US" baseline="0" dirty="0" smtClean="0">
                          <a:solidFill>
                            <a:srgbClr val="005D7E"/>
                          </a:solidFill>
                          <a:latin typeface="+mj-lt"/>
                        </a:rPr>
                        <a:t/>
                      </a:r>
                      <a:br>
                        <a:rPr lang="en-US" baseline="0" dirty="0" smtClean="0">
                          <a:solidFill>
                            <a:srgbClr val="005D7E"/>
                          </a:solidFill>
                          <a:latin typeface="+mj-lt"/>
                        </a:rPr>
                      </a:br>
                      <a:r>
                        <a:rPr lang="en-US" baseline="0" dirty="0" smtClean="0">
                          <a:solidFill>
                            <a:srgbClr val="005D7E"/>
                          </a:solidFill>
                          <a:latin typeface="+mj-lt"/>
                        </a:rPr>
                        <a:t>P2</a:t>
                      </a:r>
                      <a:br>
                        <a:rPr lang="en-US" baseline="0" dirty="0" smtClean="0">
                          <a:solidFill>
                            <a:srgbClr val="005D7E"/>
                          </a:solidFill>
                          <a:latin typeface="+mj-lt"/>
                        </a:rPr>
                      </a:br>
                      <a:r>
                        <a:rPr lang="en-US" baseline="0" dirty="0" smtClean="0">
                          <a:solidFill>
                            <a:srgbClr val="005D7E"/>
                          </a:solidFill>
                          <a:latin typeface="+mj-lt"/>
                        </a:rPr>
                        <a:t>P3</a:t>
                      </a:r>
                      <a:endParaRPr lang="en-US" dirty="0">
                        <a:solidFill>
                          <a:srgbClr val="005D7E"/>
                        </a:solidFill>
                        <a:latin typeface="+mj-lt"/>
                      </a:endParaRPr>
                    </a:p>
                  </a:txBody>
                  <a:tcPr/>
                </a:tc>
                <a:tc>
                  <a:txBody>
                    <a:bodyPr/>
                    <a:lstStyle/>
                    <a:p>
                      <a:r>
                        <a:rPr lang="en-US" sz="1600" dirty="0" smtClean="0">
                          <a:solidFill>
                            <a:srgbClr val="005D7E"/>
                          </a:solidFill>
                          <a:latin typeface="+mj-lt"/>
                        </a:rPr>
                        <a:t>Mission</a:t>
                      </a:r>
                      <a:r>
                        <a:rPr lang="en-US" sz="1600" baseline="0" dirty="0" smtClean="0">
                          <a:solidFill>
                            <a:srgbClr val="005D7E"/>
                          </a:solidFill>
                          <a:latin typeface="+mj-lt"/>
                        </a:rPr>
                        <a:t> Critical, High volume, Many concurrent Users</a:t>
                      </a:r>
                      <a:endParaRPr lang="en-US" sz="1600" dirty="0">
                        <a:solidFill>
                          <a:srgbClr val="005D7E"/>
                        </a:solidFill>
                        <a:latin typeface="+mj-lt"/>
                      </a:endParaRPr>
                    </a:p>
                  </a:txBody>
                  <a:tcPr/>
                </a:tc>
                <a:tc>
                  <a:txBody>
                    <a:bodyPr/>
                    <a:lstStyle/>
                    <a:p>
                      <a:r>
                        <a:rPr lang="en-US" dirty="0" smtClean="0">
                          <a:solidFill>
                            <a:srgbClr val="005D7E"/>
                          </a:solidFill>
                          <a:latin typeface="+mj-lt"/>
                        </a:rPr>
                        <a:t>50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sec.</a:t>
                      </a:r>
                      <a:endParaRPr lang="en-US" dirty="0" smtClean="0">
                        <a:solidFill>
                          <a:srgbClr val="005D7E"/>
                        </a:solidFill>
                        <a:latin typeface="+mj-lt"/>
                      </a:endParaRPr>
                    </a:p>
                  </a:txBody>
                  <a:tcPr/>
                </a:tc>
                <a:tc>
                  <a:txBody>
                    <a:bodyPr/>
                    <a:lstStyle/>
                    <a:p>
                      <a:r>
                        <a:rPr lang="en-US" dirty="0" smtClean="0">
                          <a:solidFill>
                            <a:srgbClr val="005D7E"/>
                          </a:solidFill>
                          <a:latin typeface="+mj-lt"/>
                        </a:rPr>
                        <a:t>100</a:t>
                      </a:r>
                    </a:p>
                    <a:p>
                      <a:r>
                        <a:rPr lang="en-US" dirty="0" smtClean="0">
                          <a:solidFill>
                            <a:srgbClr val="005D7E"/>
                          </a:solidFill>
                          <a:latin typeface="+mj-lt"/>
                        </a:rPr>
                        <a:t>200</a:t>
                      </a:r>
                    </a:p>
                    <a:p>
                      <a:r>
                        <a:rPr lang="en-US" dirty="0" smtClean="0">
                          <a:solidFill>
                            <a:srgbClr val="005D7E"/>
                          </a:solidFill>
                          <a:latin typeface="+mj-lt"/>
                        </a:rPr>
                        <a:t>800</a:t>
                      </a:r>
                      <a:endParaRPr lang="en-US" dirty="0">
                        <a:solidFill>
                          <a:srgbClr val="005D7E"/>
                        </a:solidFill>
                        <a:latin typeface="+mj-lt"/>
                      </a:endParaRPr>
                    </a:p>
                  </a:txBody>
                  <a:tcPr/>
                </a:tc>
                <a:tc>
                  <a:txBody>
                    <a:bodyPr/>
                    <a:lstStyle/>
                    <a:p>
                      <a:r>
                        <a:rPr lang="en-US" dirty="0" smtClean="0">
                          <a:solidFill>
                            <a:srgbClr val="005D7E"/>
                          </a:solidFill>
                          <a:latin typeface="+mj-lt"/>
                        </a:rPr>
                        <a:t>35 Days</a:t>
                      </a:r>
                      <a:endParaRPr lang="en-US" dirty="0">
                        <a:solidFill>
                          <a:srgbClr val="005D7E"/>
                        </a:solidFill>
                        <a:latin typeface="+mj-lt"/>
                      </a:endParaRPr>
                    </a:p>
                  </a:txBody>
                  <a:tcPr/>
                </a:tc>
                <a:tc>
                  <a:txBody>
                    <a:bodyPr/>
                    <a:lstStyle/>
                    <a:p>
                      <a:r>
                        <a:rPr lang="en-US" dirty="0" smtClean="0">
                          <a:solidFill>
                            <a:srgbClr val="005D7E"/>
                          </a:solidFill>
                          <a:latin typeface="+mj-lt"/>
                        </a:rPr>
                        <a:t>Active Geo-replication</a:t>
                      </a:r>
                      <a:endParaRPr lang="en-US"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pc="-51" dirty="0" smtClean="0">
                <a:solidFill>
                  <a:schemeClr val="bg2"/>
                </a:solidFill>
                <a:latin typeface="+mj-lt"/>
              </a:rPr>
              <a:t>This information is subject to change over time.</a:t>
            </a: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199144"/>
            <a:ext cx="12192000" cy="1278377"/>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a:t>
            </a:r>
            <a:r>
              <a:rPr lang="en-US" sz="4000" spc="-51" dirty="0" smtClean="0">
                <a:solidFill>
                  <a:schemeClr val="bg2"/>
                </a:solidFill>
                <a:latin typeface="+mj-lt"/>
              </a:rPr>
              <a:t>all tiers: Basic</a:t>
            </a:r>
            <a:r>
              <a:rPr lang="en-US" sz="4000" spc="-51" dirty="0">
                <a:solidFill>
                  <a:schemeClr val="bg2"/>
                </a:solidFill>
                <a:latin typeface="+mj-lt"/>
              </a:rPr>
              <a:t>,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229045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31160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852920"/>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2"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083"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551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1260622"/>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8"/>
                                        </p:tgtEl>
                                      </p:cBhvr>
                                    </p:animEffect>
                                    <p:set>
                                      <p:cBhvr>
                                        <p:cTn id="42" dur="1" fill="hold">
                                          <p:stCondLst>
                                            <p:cond delay="499"/>
                                          </p:stCondLst>
                                        </p:cTn>
                                        <p:tgtEl>
                                          <p:spTgt spid="8"/>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2" grpId="0" animBg="1"/>
      <p:bldP spid="12" grpId="1" animBg="1"/>
      <p:bldP spid="12" grpId="2"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smtClean="0"/>
              <a:t>Connect from on premise</a:t>
            </a:r>
          </a:p>
          <a:p>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DO.NET</a:t>
            </a:r>
          </a:p>
          <a:p>
            <a:pPr marL="252000" lvl="1" indent="0" defTabSz="914325">
              <a:spcBef>
                <a:spcPts val="120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ODBC</a:t>
            </a:r>
          </a:p>
          <a:p>
            <a:pPr marL="252000" lvl="1" indent="0" defTabSz="914325">
              <a:spcBef>
                <a:spcPts val="1200"/>
              </a:spcBef>
              <a:buNone/>
            </a:pPr>
            <a:r>
              <a:rPr lang="en-US" sz="4400" dirty="0" smtClean="0">
                <a:solidFill>
                  <a:schemeClr val="bg1"/>
                </a:solidFill>
                <a:latin typeface="+mj-lt"/>
              </a:rPr>
              <a:t>Java: </a:t>
            </a:r>
            <a:r>
              <a:rPr lang="en-US" sz="4400" dirty="0">
                <a:solidFill>
                  <a:schemeClr val="bg1"/>
                </a:solidFill>
                <a:latin typeface="+mj-lt"/>
              </a:rPr>
              <a:t>Microsoft JDBC </a:t>
            </a:r>
            <a:r>
              <a:rPr lang="en-US" sz="4400" dirty="0" smtClean="0">
                <a:solidFill>
                  <a:schemeClr val="bg1"/>
                </a:solidFill>
                <a:latin typeface="+mj-lt"/>
              </a:rPr>
              <a:t>provider</a:t>
            </a:r>
          </a:p>
          <a:p>
            <a:pPr marL="252000" lvl="1" indent="0" defTabSz="914325">
              <a:spcBef>
                <a:spcPts val="120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Odata</a:t>
            </a:r>
          </a:p>
          <a:p>
            <a:pPr marL="252000" lvl="1" indent="0" defTabSz="914325">
              <a:spcBef>
                <a:spcPts val="1200"/>
              </a:spcBef>
              <a:buNone/>
            </a:pPr>
            <a:r>
              <a:rPr lang="en-US" sz="4400" dirty="0">
                <a:solidFill>
                  <a:schemeClr val="bg1"/>
                </a:solidFill>
                <a:latin typeface="+mj-lt"/>
              </a:rPr>
              <a:t>Entity Framework</a:t>
            </a:r>
          </a:p>
          <a:p>
            <a:pPr marL="252000" lvl="1" indent="0" defTabSz="914325">
              <a:spcBef>
                <a:spcPts val="1200"/>
              </a:spcBef>
              <a:buNone/>
            </a:pPr>
            <a:r>
              <a:rPr lang="en-US" sz="4400" dirty="0">
                <a:solidFill>
                  <a:schemeClr val="bg1"/>
                </a:solidFill>
                <a:latin typeface="+mj-lt"/>
              </a:rPr>
              <a:t>WCF Data Services</a:t>
            </a:r>
          </a:p>
          <a:p>
            <a:pPr marL="252000" lvl="1" indent="0" defTabSz="914325">
              <a:spcBef>
                <a:spcPts val="120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CA </a:t>
            </a:r>
            <a:r>
              <a:rPr lang="en-US" sz="4400" dirty="0">
                <a:solidFill>
                  <a:schemeClr val="bg1"/>
                </a:solidFill>
                <a:latin typeface="+mj-lt"/>
              </a:rPr>
              <a:t>Erwin® Data </a:t>
            </a:r>
            <a:r>
              <a:rPr lang="en-US" sz="4400" dirty="0" smtClean="0">
                <a:solidFill>
                  <a:schemeClr val="bg1"/>
                </a:solidFill>
                <a:latin typeface="+mj-lt"/>
              </a:rPr>
              <a:t>Modeler</a:t>
            </a:r>
          </a:p>
          <a:p>
            <a:pPr marL="252000" lvl="1" indent="0" defTabSz="914325">
              <a:spcBef>
                <a:spcPts val="120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algn="ctr"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development</a:t>
            </a:r>
            <a:endParaRPr lang="en-US" sz="4000" dirty="0">
              <a:solidFill>
                <a:schemeClr val="bg1"/>
              </a:solidFill>
              <a:latin typeface="+mj-lt"/>
            </a:endParaRPr>
          </a:p>
          <a:p>
            <a:pPr marL="252000" lvl="1" indent="0" defTabSz="914325">
              <a:spcBef>
                <a:spcPts val="120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pic>
        <p:nvPicPr>
          <p:cNvPr id="5" name="Picture 4"/>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4580" name="Picture 4" descr="C:\Users\Magnus\AppData\Local\Temp\SNAGHTML253566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1314" y="926892"/>
            <a:ext cx="8509372" cy="5004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4141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Connect to master to administer </a:t>
            </a:r>
            <a:r>
              <a:rPr lang="en-US" sz="4400" dirty="0" smtClean="0">
                <a:solidFill>
                  <a:schemeClr val="bg1"/>
                </a:solidFill>
                <a:latin typeface="+mj-lt"/>
              </a:rPr>
              <a:t>logins</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On </a:t>
            </a:r>
            <a:r>
              <a:rPr lang="en-US" altLang="zh-CN" dirty="0"/>
              <a:t>The </a:t>
            </a:r>
            <a:r>
              <a:rPr lang="en-US" altLang="zh-CN" dirty="0" smtClean="0"/>
              <a:t>Server</a:t>
            </a:r>
            <a:endParaRPr lang="en-US" altLang="zh-CN"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Within </a:t>
            </a:r>
            <a:r>
              <a:rPr lang="en-US" altLang="zh-CN" dirty="0"/>
              <a:t>The </a:t>
            </a:r>
            <a:r>
              <a:rPr lang="en-US" altLang="zh-CN" dirty="0" smtClean="0"/>
              <a:t>Database</a:t>
            </a:r>
            <a:endParaRPr lang="en-US" altLang="zh-CN"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Security </a:t>
            </a:r>
            <a:r>
              <a:rPr lang="en-US" dirty="0" smtClean="0"/>
              <a:t>with th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4616605"/>
          </a:xfrm>
        </p:spPr>
        <p:txBody>
          <a:bodyPr>
            <a:noAutofit/>
          </a:bodyPr>
          <a:lstStyle/>
          <a:p>
            <a:pPr marL="252000">
              <a:spcBef>
                <a:spcPts val="1200"/>
              </a:spcBef>
            </a:pPr>
            <a:r>
              <a:rPr lang="en-US" sz="4400" dirty="0" smtClean="0"/>
              <a:t>The same way you’ve always done it!</a:t>
            </a:r>
            <a:endParaRPr lang="en-US" sz="4400" dirty="0"/>
          </a:p>
        </p:txBody>
      </p:sp>
      <p:sp>
        <p:nvSpPr>
          <p:cNvPr id="6" name="TextBox 5"/>
          <p:cNvSpPr txBox="1"/>
          <p:nvPr/>
        </p:nvSpPr>
        <p:spPr>
          <a:xfrm>
            <a:off x="3519224" y="3198608"/>
            <a:ext cx="5153553" cy="2954655"/>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smtClean="0">
                <a:solidFill>
                  <a:srgbClr val="0000FF"/>
                </a:solidFill>
                <a:latin typeface="Consolas"/>
              </a:rPr>
              <a:t>  &lt;</a:t>
            </a:r>
            <a:r>
              <a:rPr lang="en-US" sz="1600" dirty="0" smtClean="0">
                <a:solidFill>
                  <a:srgbClr val="A31515"/>
                </a:solidFill>
                <a:latin typeface="Consolas"/>
              </a:rPr>
              <a:t>add </a:t>
            </a:r>
            <a:r>
              <a:rPr lang="en-US" sz="1600" dirty="0" smtClean="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a:t>
            </a:r>
            <a:r>
              <a:rPr lang="en-US" sz="1600" dirty="0" smtClean="0">
                <a:solidFill>
                  <a:srgbClr val="0000FF"/>
                </a:solidFill>
                <a:latin typeface="Consolas"/>
              </a:rPr>
              <a:t>Source= </a:t>
            </a:r>
            <a:r>
              <a:rPr lang="en-US" sz="1600" dirty="0" smtClean="0">
                <a:solidFill>
                  <a:srgbClr val="0000FF"/>
                </a:solidFill>
                <a:highlight>
                  <a:srgbClr val="FFFF00"/>
                </a:highlight>
                <a:latin typeface="Consolas"/>
              </a:rPr>
              <a:t>[</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smtClean="0">
                <a:solidFill>
                  <a:srgbClr val="FF0000"/>
                </a:solidFill>
                <a:latin typeface="Consolas"/>
              </a:rPr>
              <a:t>    </a:t>
            </a:r>
            <a:r>
              <a:rPr lang="en-US" sz="1600" dirty="0" err="1" smtClean="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smtClean="0">
                <a:gradFill>
                  <a:gsLst>
                    <a:gs pos="0">
                      <a:srgbClr val="FFFFFF"/>
                    </a:gs>
                    <a:gs pos="100000">
                      <a:srgbClr val="FFFFFF"/>
                    </a:gs>
                  </a:gsLst>
                  <a:lin ang="5400000" scaled="0"/>
                </a:gradFill>
                <a:latin typeface="+mj-lt"/>
              </a:rPr>
              <a:t>When you </a:t>
            </a:r>
            <a:r>
              <a:rPr lang="en-US" sz="3200" dirty="0">
                <a:gradFill>
                  <a:gsLst>
                    <a:gs pos="0">
                      <a:srgbClr val="FFFFFF"/>
                    </a:gs>
                    <a:gs pos="100000">
                      <a:srgbClr val="FFFFFF"/>
                    </a:gs>
                  </a:gsLst>
                  <a:lin ang="5400000" scaled="0"/>
                </a:gradFill>
                <a:latin typeface="+mj-lt"/>
              </a:rPr>
              <a:t>want reduced </a:t>
            </a:r>
            <a:r>
              <a:rPr lang="en-US" sz="3200" dirty="0" smtClean="0">
                <a:gradFill>
                  <a:gsLst>
                    <a:gs pos="0">
                      <a:srgbClr val="FFFFFF"/>
                    </a:gs>
                    <a:gs pos="100000">
                      <a:srgbClr val="FFFFFF"/>
                    </a:gs>
                  </a:gsLst>
                  <a:lin ang="5400000" scaled="0"/>
                </a:gradFill>
                <a:latin typeface="+mj-lt"/>
              </a:rPr>
              <a:t>overhead and possibly need </a:t>
            </a:r>
            <a:r>
              <a:rPr lang="en-US" sz="3200" dirty="0">
                <a:gradFill>
                  <a:gsLst>
                    <a:gs pos="0">
                      <a:srgbClr val="FFFFFF"/>
                    </a:gs>
                    <a:gs pos="100000">
                      <a:srgbClr val="FFFFFF"/>
                    </a:gs>
                  </a:gsLst>
                  <a:lin ang="5400000" scaled="0"/>
                </a:gradFill>
                <a:latin typeface="+mj-lt"/>
              </a:rPr>
              <a:t>elastic </a:t>
            </a:r>
            <a:r>
              <a:rPr lang="en-US" sz="3200" dirty="0" smtClean="0">
                <a:gradFill>
                  <a:gsLst>
                    <a:gs pos="0">
                      <a:srgbClr val="FFFFFF"/>
                    </a:gs>
                    <a:gs pos="100000">
                      <a:srgbClr val="FFFFFF"/>
                    </a:gs>
                  </a:gsLst>
                  <a:lin ang="5400000" scaled="0"/>
                </a:gradFill>
                <a:latin typeface="+mj-lt"/>
              </a:rPr>
              <a:t>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in &amp; programmatic DBA-like features</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 SQL Server functionality</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4"/>
            <a:ext cx="5633884" cy="60236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9357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16650" y="0"/>
            <a:ext cx="5975350" cy="6858000"/>
          </a:xfrm>
        </p:spPr>
        <p:txBody>
          <a:bodyPr>
            <a:noAutofit/>
          </a:bodyPr>
          <a:lstStyle/>
          <a:p>
            <a:pPr algn="l"/>
            <a:r>
              <a:rPr lang="en-US" sz="3200" dirty="0" smtClean="0">
                <a:latin typeface="Segoe UI Light" panose="020B0502040204020203" pitchFamily="34" charset="0"/>
                <a:cs typeface="Segoe UI Light" panose="020B0502040204020203" pitchFamily="34" charset="0"/>
              </a:rPr>
              <a:t>Classic </a:t>
            </a:r>
            <a:r>
              <a:rPr lang="en-US" sz="3200" dirty="0">
                <a:latin typeface="Segoe UI Light" panose="020B0502040204020203" pitchFamily="34" charset="0"/>
                <a:cs typeface="Segoe UI Light" panose="020B0502040204020203" pitchFamily="34" charset="0"/>
              </a:rPr>
              <a:t>3-tier enterprise </a:t>
            </a:r>
            <a:r>
              <a:rPr lang="en-US" sz="3200" dirty="0" smtClean="0">
                <a:latin typeface="Segoe UI Light" panose="020B0502040204020203" pitchFamily="34" charset="0"/>
                <a:cs typeface="Segoe UI Light" panose="020B0502040204020203" pitchFamily="34" charset="0"/>
              </a:rPr>
              <a:t>architecture:</a:t>
            </a:r>
          </a:p>
          <a:p>
            <a:pPr algn="l"/>
            <a:r>
              <a:rPr lang="en-US" sz="4400" dirty="0" smtClean="0">
                <a:latin typeface="Segoe UI Light" panose="020B0502040204020203" pitchFamily="34" charset="0"/>
                <a:cs typeface="Segoe UI Light" panose="020B0502040204020203" pitchFamily="34" charset="0"/>
              </a:rPr>
              <a:t>Scale out the front ends to multiple instances</a:t>
            </a:r>
            <a:r>
              <a:rPr lang="en-US" sz="4400" dirty="0">
                <a:latin typeface="Segoe UI Light" panose="020B0502040204020203" pitchFamily="34" charset="0"/>
                <a:cs typeface="Segoe UI Light" panose="020B0502040204020203" pitchFamily="34" charset="0"/>
              </a:rPr>
              <a:t> </a:t>
            </a:r>
            <a:r>
              <a:rPr lang="en-US" sz="4400" dirty="0" smtClean="0">
                <a:latin typeface="Segoe UI Light" panose="020B0502040204020203" pitchFamily="34" charset="0"/>
                <a:cs typeface="Segoe UI Light" panose="020B0502040204020203" pitchFamily="34" charset="0"/>
              </a:rPr>
              <a:t>is easy</a:t>
            </a:r>
          </a:p>
          <a:p>
            <a:pPr algn="l"/>
            <a:r>
              <a:rPr lang="en-US" sz="4400" dirty="0" smtClean="0">
                <a:latin typeface="Segoe UI Light" panose="020B0502040204020203" pitchFamily="34" charset="0"/>
                <a:cs typeface="Segoe UI Light" panose="020B0502040204020203" pitchFamily="34" charset="0"/>
              </a:rPr>
              <a:t>Scale the data-tier is more challenging</a:t>
            </a:r>
          </a:p>
        </p:txBody>
      </p:sp>
      <p:graphicFrame>
        <p:nvGraphicFramePr>
          <p:cNvPr id="6" name="Object 5"/>
          <p:cNvGraphicFramePr>
            <a:graphicFrameLocks noChangeAspect="1"/>
          </p:cNvGraphicFramePr>
          <p:nvPr>
            <p:extLst>
              <p:ext uri="{D42A27DB-BD31-4B8C-83A1-F6EECF244321}">
                <p14:modId xmlns:p14="http://schemas.microsoft.com/office/powerpoint/2010/main" val="1111346850"/>
              </p:ext>
            </p:extLst>
          </p:nvPr>
        </p:nvGraphicFramePr>
        <p:xfrm>
          <a:off x="96838" y="573088"/>
          <a:ext cx="6284912" cy="5726112"/>
        </p:xfrm>
        <a:graphic>
          <a:graphicData uri="http://schemas.openxmlformats.org/presentationml/2006/ole">
            <mc:AlternateContent xmlns:mc="http://schemas.openxmlformats.org/markup-compatibility/2006">
              <mc:Choice xmlns:v="urn:schemas-microsoft-com:vml" Requires="v">
                <p:oleObj spid="_x0000_s22629"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96838"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Canonical cloud app architecture</a:t>
            </a:r>
          </a:p>
        </p:txBody>
      </p:sp>
    </p:spTree>
    <p:extLst>
      <p:ext uri="{BB962C8B-B14F-4D97-AF65-F5344CB8AC3E}">
        <p14:creationId xmlns:p14="http://schemas.microsoft.com/office/powerpoint/2010/main" val="192391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err="1"/>
              <a:t>.Net</a:t>
            </a:r>
            <a:r>
              <a:rPr lang="en-US" sz="4400" dirty="0"/>
              <a:t> 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932384"/>
            <a:ext cx="12201525" cy="1416180"/>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348564"/>
            <a:ext cx="12201525" cy="1925053"/>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4273617"/>
            <a:ext cx="12201525" cy="78091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5054528"/>
            <a:ext cx="12201525" cy="130777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xit" presetSubtype="0" fill="hold" grpId="0" nodeType="withEffect">
                                  <p:stCondLst>
                                    <p:cond delay="0"/>
                                  </p:stCondLst>
                                  <p:childTnLst>
                                    <p:animEffect transition="out" filter="fade">
                                      <p:cBhvr>
                                        <p:cTn id="25" dur="500"/>
                                        <p:tgtEl>
                                          <p:spTgt spid="10"/>
                                        </p:tgtEl>
                                      </p:cBhvr>
                                    </p:animEffect>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
                                        </p:tgtEl>
                                      </p:cBhvr>
                                    </p:animEffect>
                                    <p:set>
                                      <p:cBhvr>
                                        <p:cTn id="31" dur="1" fill="hold">
                                          <p:stCondLst>
                                            <p:cond delay="499"/>
                                          </p:stCondLst>
                                        </p:cTn>
                                        <p:tgtEl>
                                          <p:spTgt spid="2"/>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7"/>
                                        </p:tgtEl>
                                      </p:cBhvr>
                                    </p:animEffect>
                                    <p:set>
                                      <p:cBhvr>
                                        <p:cTn id="34" dur="1" fill="hold">
                                          <p:stCondLst>
                                            <p:cond delay="499"/>
                                          </p:stCondLst>
                                        </p:cTn>
                                        <p:tgtEl>
                                          <p:spTgt spid="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7" grpId="2" animBg="1"/>
      <p:bldP spid="9" grpId="0" animBg="1"/>
      <p:bldP spid="9" grpId="1" animBg="1"/>
      <p:bldP spid="9" grpId="2" animBg="1"/>
      <p:bldP spid="1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5" y="0"/>
            <a:ext cx="12201525" cy="3863975"/>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8" name="Can 7"/>
          <p:cNvSpPr/>
          <p:nvPr/>
        </p:nvSpPr>
        <p:spPr bwMode="auto">
          <a:xfrm>
            <a:off x="3253692" y="485731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3" name="Can 12"/>
          <p:cNvSpPr/>
          <p:nvPr/>
        </p:nvSpPr>
        <p:spPr bwMode="auto">
          <a:xfrm>
            <a:off x="10005012" y="485036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4" name="Can 13"/>
          <p:cNvSpPr/>
          <p:nvPr/>
        </p:nvSpPr>
        <p:spPr bwMode="auto">
          <a:xfrm>
            <a:off x="7304484"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16" name="Can 15"/>
          <p:cNvSpPr/>
          <p:nvPr/>
        </p:nvSpPr>
        <p:spPr bwMode="auto">
          <a:xfrm>
            <a:off x="4603956" y="4226722"/>
            <a:ext cx="979648" cy="1604963"/>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Standard</a:t>
            </a:r>
            <a:endParaRPr lang="en-US" sz="1600" baseline="-25000" dirty="0">
              <a:solidFill>
                <a:schemeClr val="bg1"/>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2066112271"/>
              </p:ext>
            </p:extLst>
          </p:nvPr>
        </p:nvGraphicFramePr>
        <p:xfrm>
          <a:off x="2953544" y="573088"/>
          <a:ext cx="6284912" cy="5726112"/>
        </p:xfrm>
        <a:graphic>
          <a:graphicData uri="http://schemas.openxmlformats.org/presentationml/2006/ole">
            <mc:AlternateContent xmlns:mc="http://schemas.openxmlformats.org/markup-compatibility/2006">
              <mc:Choice xmlns:v="urn:schemas-microsoft-com:vml" Requires="v">
                <p:oleObj spid="_x0000_s26658"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2953544"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Elastic Scale architecture</a:t>
            </a:r>
            <a:endParaRPr lang="en-US" dirty="0"/>
          </a:p>
        </p:txBody>
      </p:sp>
    </p:spTree>
    <p:extLst>
      <p:ext uri="{BB962C8B-B14F-4D97-AF65-F5344CB8AC3E}">
        <p14:creationId xmlns:p14="http://schemas.microsoft.com/office/powerpoint/2010/main" val="1167845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2803122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
        <p:nvSpPr>
          <p:cNvPr id="7" name="Rectangle 6"/>
          <p:cNvSpPr/>
          <p:nvPr/>
        </p:nvSpPr>
        <p:spPr>
          <a:xfrm>
            <a:off x="0" y="645300"/>
            <a:ext cx="10780295"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1501542"/>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2357784"/>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214025"/>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0" y="4774130"/>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xit" presetSubtype="0" fill="hold" grpId="0" nodeType="withEffect">
                                  <p:stCondLst>
                                    <p:cond delay="0"/>
                                  </p:stCondLst>
                                  <p:childTnLst>
                                    <p:animEffect transition="out" filter="fade">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1"/>
                                        </p:tgtEl>
                                      </p:cBhvr>
                                    </p:animEffect>
                                    <p:set>
                                      <p:cBhvr>
                                        <p:cTn id="42" dur="1" fill="hold">
                                          <p:stCondLst>
                                            <p:cond delay="499"/>
                                          </p:stCondLst>
                                        </p:cTn>
                                        <p:tgtEl>
                                          <p:spTgt spid="11"/>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1" grpId="0" animBg="1"/>
      <p:bldP spid="11" grpId="1" animBg="1"/>
      <p:bldP spid="11" grpId="2" animBg="1"/>
      <p:bldP spid="12" grpId="0" animBg="1"/>
      <p:bldP spid="12" grpId="1" animBg="1"/>
      <p:bldP spid="12" grpId="2" animBg="1"/>
      <p:bldP spid="13" grpId="0" animBg="1"/>
      <p:bldP spid="13" grpId="1" animBg="1"/>
      <p:bldP spid="13" grpId="2" animBg="1"/>
      <p:bldP spid="1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8673838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0"/>
            <a:ext cx="12192000" cy="6858000"/>
          </a:xfrm>
        </p:spPr>
        <p:txBody>
          <a:bodyPr>
            <a:normAutofit/>
          </a:bodyPr>
          <a:lstStyle/>
          <a:p>
            <a:pPr algn="ctr"/>
            <a:r>
              <a:rPr lang="en-US" sz="6000" dirty="0">
                <a:ea typeface="+mn-ea"/>
                <a:cs typeface="+mn-cs"/>
              </a:rPr>
              <a:t>NoSQL</a:t>
            </a:r>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23425" y="1331650"/>
            <a:ext cx="7501631"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011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solidFill>
                  <a:schemeClr val="bg2"/>
                </a:solidFill>
              </a:rPr>
              <a:t>NoSQL is generally </a:t>
            </a:r>
            <a:r>
              <a:rPr lang="en-US" dirty="0">
                <a:solidFill>
                  <a:schemeClr val="bg2"/>
                </a:solidFill>
              </a:rPr>
              <a:t>more scalabl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1200"/>
              </a:spcBef>
            </a:pPr>
            <a:r>
              <a:rPr lang="en-US" sz="3600" dirty="0" smtClean="0">
                <a:solidFill>
                  <a:schemeClr val="bg2"/>
                </a:solidFill>
              </a:rPr>
              <a:t>The storage engines of NoSQL stores are designed to minimize contentions enabling higher throughput and therefore more scalable</a:t>
            </a:r>
          </a:p>
          <a:p>
            <a:pPr marL="252000" algn="l">
              <a:spcBef>
                <a:spcPts val="1200"/>
              </a:spcBef>
            </a:pPr>
            <a:r>
              <a:rPr lang="en-US" sz="3600" dirty="0" smtClean="0"/>
              <a:t>Lower </a:t>
            </a:r>
            <a:r>
              <a:rPr lang="en-US" sz="3600" dirty="0"/>
              <a:t>transaction capability </a:t>
            </a:r>
            <a:r>
              <a:rPr lang="en-US" sz="3600" dirty="0" smtClean="0"/>
              <a:t>in NoSQL results in less contention and therefore more scalable</a:t>
            </a:r>
          </a:p>
          <a:p>
            <a:pPr marL="252000" algn="l">
              <a:spcBef>
                <a:spcPts val="1200"/>
              </a:spcBef>
            </a:pPr>
            <a:r>
              <a:rPr lang="en-US" sz="3600" dirty="0" smtClean="0">
                <a:sym typeface="Wingdings" panose="05000000000000000000" pitchFamily="2" charset="2"/>
              </a:rPr>
              <a:t>Less </a:t>
            </a:r>
            <a:r>
              <a:rPr lang="en-US" sz="3600" dirty="0">
                <a:sym typeface="Wingdings" panose="05000000000000000000" pitchFamily="2" charset="2"/>
              </a:rPr>
              <a:t>complex query processor </a:t>
            </a:r>
            <a:r>
              <a:rPr lang="en-US" sz="3600" dirty="0" smtClean="0">
                <a:sym typeface="Wingdings" panose="05000000000000000000" pitchFamily="2" charset="2"/>
              </a:rPr>
              <a:t>means that a </a:t>
            </a:r>
            <a:r>
              <a:rPr lang="en-US" sz="3600" dirty="0">
                <a:sym typeface="Wingdings" panose="05000000000000000000" pitchFamily="2" charset="2"/>
              </a:rPr>
              <a:t>single query can’t degrade service</a:t>
            </a:r>
          </a:p>
          <a:p>
            <a:pPr marL="252000" algn="l">
              <a:spcBef>
                <a:spcPts val="1200"/>
              </a:spcBef>
            </a:pPr>
            <a:r>
              <a:rPr lang="en-US" sz="3600" dirty="0">
                <a:sym typeface="Wingdings" panose="05000000000000000000" pitchFamily="2" charset="2"/>
              </a:rPr>
              <a:t>Built-in replication </a:t>
            </a:r>
            <a:r>
              <a:rPr lang="en-US" sz="3600" dirty="0" smtClean="0">
                <a:sym typeface="Wingdings" panose="05000000000000000000" pitchFamily="2" charset="2"/>
              </a:rPr>
              <a:t>capability means that store can scale out which better aligns to other application tiers (e.g. websites)</a:t>
            </a:r>
          </a:p>
          <a:p>
            <a:pPr marL="252000" algn="l">
              <a:spcBef>
                <a:spcPts val="1200"/>
              </a:spcBef>
            </a:pPr>
            <a:r>
              <a:rPr lang="en-US" sz="3600" dirty="0" smtClean="0">
                <a:sym typeface="Wingdings" panose="05000000000000000000" pitchFamily="2" charset="2"/>
              </a:rPr>
              <a:t>No fixed schema or lower schema requirements</a:t>
            </a:r>
            <a:endParaRPr lang="en-US" sz="3600" dirty="0"/>
          </a:p>
        </p:txBody>
      </p:sp>
      <p:sp>
        <p:nvSpPr>
          <p:cNvPr id="4" name="Rectangle 3"/>
          <p:cNvSpPr/>
          <p:nvPr/>
        </p:nvSpPr>
        <p:spPr>
          <a:xfrm>
            <a:off x="-9525" y="616017"/>
            <a:ext cx="12201525" cy="1491916"/>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9525" y="2107933"/>
            <a:ext cx="12201525" cy="1251284"/>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359217"/>
            <a:ext cx="12201525" cy="1106905"/>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466122"/>
            <a:ext cx="12201525" cy="1183907"/>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525" y="5650029"/>
            <a:ext cx="12201525" cy="827773"/>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0"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4"/>
                                        </p:tgtEl>
                                      </p:cBhvr>
                                    </p:animEffect>
                                    <p:set>
                                      <p:cBhvr>
                                        <p:cTn id="39" dur="1" fill="hold">
                                          <p:stCondLst>
                                            <p:cond delay="499"/>
                                          </p:stCondLst>
                                        </p:cTn>
                                        <p:tgtEl>
                                          <p:spTgt spid="4"/>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7"/>
                                        </p:tgtEl>
                                      </p:cBhvr>
                                    </p:animEffect>
                                    <p:set>
                                      <p:cBhvr>
                                        <p:cTn id="4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0" animBg="1"/>
      <p:bldP spid="7" grpId="1" animBg="1"/>
      <p:bldP spid="7" grpId="2" animBg="1"/>
      <p:bldP spid="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t>NoSQL o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3800" dirty="0" smtClean="0"/>
              <a:t>Azure </a:t>
            </a:r>
            <a:r>
              <a:rPr lang="en-US" sz="3800" b="1" dirty="0" smtClean="0"/>
              <a:t>Table Service </a:t>
            </a:r>
            <a:r>
              <a:rPr lang="en-US" sz="3800" dirty="0" smtClean="0"/>
              <a:t>is a “Big Table” entity store</a:t>
            </a:r>
          </a:p>
          <a:p>
            <a:pPr marL="252000" algn="l">
              <a:spcBef>
                <a:spcPts val="2400"/>
              </a:spcBef>
            </a:pPr>
            <a:r>
              <a:rPr lang="en-US" sz="3800" b="1" dirty="0" err="1" smtClean="0"/>
              <a:t>MongoDB</a:t>
            </a:r>
            <a:r>
              <a:rPr lang="en-US" sz="3800" b="1" dirty="0" smtClean="0"/>
              <a:t> </a:t>
            </a:r>
            <a:r>
              <a:rPr lang="en-US" sz="3800" dirty="0" smtClean="0"/>
              <a:t>and </a:t>
            </a:r>
            <a:r>
              <a:rPr lang="en-US" sz="3800" b="1" dirty="0" err="1" smtClean="0"/>
              <a:t>DocumentDb</a:t>
            </a:r>
            <a:r>
              <a:rPr lang="en-US" sz="3800" b="1" dirty="0" smtClean="0"/>
              <a:t> </a:t>
            </a:r>
            <a:r>
              <a:rPr lang="en-US" sz="3800" dirty="0" smtClean="0"/>
              <a:t>are document (JSON) stores </a:t>
            </a:r>
          </a:p>
          <a:p>
            <a:pPr marL="252000" algn="l">
              <a:spcBef>
                <a:spcPts val="2400"/>
              </a:spcBef>
            </a:pPr>
            <a:r>
              <a:rPr lang="en-US" sz="3800" b="1" dirty="0" smtClean="0"/>
              <a:t>Cassandra </a:t>
            </a:r>
            <a:r>
              <a:rPr lang="en-US" sz="3800" dirty="0" smtClean="0"/>
              <a:t>is a columnar store with excellent replication</a:t>
            </a:r>
          </a:p>
          <a:p>
            <a:pPr marL="252000" algn="l">
              <a:spcBef>
                <a:spcPts val="2400"/>
              </a:spcBef>
            </a:pPr>
            <a:r>
              <a:rPr lang="en-US" sz="3800" dirty="0" err="1" smtClean="0"/>
              <a:t>HBase</a:t>
            </a:r>
            <a:r>
              <a:rPr lang="en-US" sz="3800" dirty="0" smtClean="0"/>
              <a:t> is a Big Data (Hadoop) store available in </a:t>
            </a:r>
            <a:r>
              <a:rPr lang="en-US" sz="3800" b="1" dirty="0" err="1" smtClean="0"/>
              <a:t>HDInsight</a:t>
            </a:r>
            <a:endParaRPr lang="en-US" sz="3800" dirty="0"/>
          </a:p>
        </p:txBody>
      </p:sp>
      <p:sp>
        <p:nvSpPr>
          <p:cNvPr id="4" name="Rectangle 3"/>
          <p:cNvSpPr/>
          <p:nvPr/>
        </p:nvSpPr>
        <p:spPr>
          <a:xfrm>
            <a:off x="0" y="190328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260116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4936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3064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1"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1"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4"/>
                                        </p:tgtEl>
                                      </p:cBhvr>
                                    </p:animEffect>
                                    <p:set>
                                      <p:cBhvr>
                                        <p:cTn id="31" dur="1" fill="hold">
                                          <p:stCondLst>
                                            <p:cond delay="499"/>
                                          </p:stCondLst>
                                        </p:cTn>
                                        <p:tgtEl>
                                          <p:spTgt spid="4"/>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6"/>
                                        </p:tgtEl>
                                      </p:cBhvr>
                                    </p:animEffect>
                                    <p:set>
                                      <p:cBhvr>
                                        <p:cTn id="3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257084"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791812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2"/>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grpSp>
        <p:nvGrpSpPr>
          <p:cNvPr id="5" name="Group 4"/>
          <p:cNvGrpSpPr/>
          <p:nvPr/>
        </p:nvGrpSpPr>
        <p:grpSpPr>
          <a:xfrm>
            <a:off x="6234593" y="1173799"/>
            <a:ext cx="2742811" cy="5170399"/>
            <a:chOff x="7313020" y="1173480"/>
            <a:chExt cx="2229789" cy="5171132"/>
          </a:xfrm>
        </p:grpSpPr>
        <p:sp>
          <p:nvSpPr>
            <p:cNvPr id="55" name="Rectangle 54"/>
            <p:cNvSpPr/>
            <p:nvPr/>
          </p:nvSpPr>
          <p:spPr bwMode="auto">
            <a:xfrm>
              <a:off x="731906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7313020" y="1173480"/>
              <a:ext cx="222978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grpSp>
      <p:graphicFrame>
        <p:nvGraphicFramePr>
          <p:cNvPr id="62" name="Table 61"/>
          <p:cNvGraphicFramePr>
            <a:graphicFrameLocks noGrp="1"/>
          </p:cNvGraphicFramePr>
          <p:nvPr>
            <p:extLst/>
          </p:nvPr>
        </p:nvGraphicFramePr>
        <p:xfrm>
          <a:off x="8417438" y="1819872"/>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9134482" y="1175222"/>
            <a:ext cx="2742811" cy="5168977"/>
            <a:chOff x="9623134" y="1174902"/>
            <a:chExt cx="2223745" cy="5169710"/>
          </a:xfrm>
        </p:grpSpPr>
        <p:sp>
          <p:nvSpPr>
            <p:cNvPr id="56" name="Rectangle 55"/>
            <p:cNvSpPr/>
            <p:nvPr/>
          </p:nvSpPr>
          <p:spPr bwMode="auto">
            <a:xfrm>
              <a:off x="962313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9623820"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377728" y="1761767"/>
              <a:ext cx="403749" cy="35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394212" y="1175222"/>
            <a:ext cx="2742811" cy="5168977"/>
            <a:chOff x="393403" y="1174902"/>
            <a:chExt cx="2223745" cy="5169710"/>
          </a:xfrm>
        </p:grpSpPr>
        <p:sp>
          <p:nvSpPr>
            <p:cNvPr id="52" name="Rectangle 51"/>
            <p:cNvSpPr/>
            <p:nvPr/>
          </p:nvSpPr>
          <p:spPr bwMode="auto">
            <a:xfrm>
              <a:off x="393403"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393403" y="1174902"/>
              <a:ext cx="2223745"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851" y="1775709"/>
              <a:ext cx="592823" cy="351790"/>
            </a:xfrm>
            <a:prstGeom prst="rect">
              <a:avLst/>
            </a:prstGeom>
          </p:spPr>
        </p:pic>
      </p:grpSp>
      <p:grpSp>
        <p:nvGrpSpPr>
          <p:cNvPr id="2" name="Group 1"/>
          <p:cNvGrpSpPr/>
          <p:nvPr/>
        </p:nvGrpSpPr>
        <p:grpSpPr>
          <a:xfrm>
            <a:off x="3291077" y="1175222"/>
            <a:ext cx="2742811" cy="5168977"/>
            <a:chOff x="2704200" y="1174902"/>
            <a:chExt cx="2223745" cy="5169710"/>
          </a:xfrm>
        </p:grpSpPr>
        <p:sp>
          <p:nvSpPr>
            <p:cNvPr id="53" name="Rectangle 52"/>
            <p:cNvSpPr/>
            <p:nvPr/>
          </p:nvSpPr>
          <p:spPr bwMode="auto">
            <a:xfrm>
              <a:off x="2704200"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886"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395" y="1780248"/>
              <a:ext cx="569421" cy="342712"/>
            </a:xfrm>
            <a:prstGeom prst="rect">
              <a:avLst/>
            </a:prstGeom>
          </p:spPr>
        </p:pic>
      </p:grpSp>
      <p:sp>
        <p:nvSpPr>
          <p:cNvPr id="82" name="Rectangle 81"/>
          <p:cNvSpPr/>
          <p:nvPr/>
        </p:nvSpPr>
        <p:spPr bwMode="auto">
          <a:xfrm>
            <a:off x="394842" y="3683826"/>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3" name="Rectangle 82"/>
          <p:cNvSpPr/>
          <p:nvPr/>
        </p:nvSpPr>
        <p:spPr bwMode="auto">
          <a:xfrm>
            <a:off x="394842" y="3217091"/>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4" name="Rectangle 83"/>
          <p:cNvSpPr/>
          <p:nvPr/>
        </p:nvSpPr>
        <p:spPr bwMode="auto">
          <a:xfrm>
            <a:off x="394839" y="2750355"/>
            <a:ext cx="5639048"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3291077" y="4617298"/>
            <a:ext cx="855498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9" name="Rectangle 88"/>
          <p:cNvSpPr/>
          <p:nvPr/>
        </p:nvSpPr>
        <p:spPr bwMode="auto">
          <a:xfrm>
            <a:off x="3291075" y="4150562"/>
            <a:ext cx="8554985"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6242029" y="5550770"/>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3" name="Rectangle 92"/>
          <p:cNvSpPr/>
          <p:nvPr/>
        </p:nvSpPr>
        <p:spPr bwMode="auto">
          <a:xfrm>
            <a:off x="6242029" y="5084374"/>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6242029" y="6017507"/>
            <a:ext cx="5604034"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1308006186"/>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7688275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chor="ctr">
            <a:normAutofit/>
          </a:bodyPr>
          <a:lstStyle/>
          <a:p>
            <a:pPr marL="72000"/>
            <a:r>
              <a:rPr lang="en-US" sz="2800" dirty="0">
                <a:solidFill>
                  <a:schemeClr val="tx1"/>
                </a:solidFill>
                <a:ea typeface="+mj-ea"/>
                <a:cs typeface="+mj-cs"/>
              </a:rPr>
              <a:t>Mongo in a VM</a:t>
            </a:r>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 extra capacity for scale out and can not be </a:t>
            </a:r>
            <a:r>
              <a:rPr lang="en-US" sz="3200" dirty="0" smtClean="0">
                <a:gradFill>
                  <a:gsLst>
                    <a:gs pos="0">
                      <a:srgbClr val="FFFFFF"/>
                    </a:gs>
                    <a:gs pos="100000">
                      <a:srgbClr val="FFFFFF"/>
                    </a:gs>
                  </a:gsLst>
                  <a:lin ang="5400000" scaled="0"/>
                </a:gradFill>
                <a:latin typeface="+mj-lt"/>
              </a:rPr>
              <a:t>migrated</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a:t>
            </a:r>
            <a:r>
              <a:rPr lang="en-US" sz="3200" dirty="0" smtClean="0">
                <a:gradFill>
                  <a:gsLst>
                    <a:gs pos="0">
                      <a:srgbClr val="FFFFFF"/>
                    </a:gs>
                    <a:gs pos="100000">
                      <a:srgbClr val="FFFFFF"/>
                    </a:gs>
                  </a:gsLst>
                  <a:lin ang="5400000" scaled="0"/>
                </a:gradFill>
                <a:latin typeface="+mj-lt"/>
              </a:rPr>
              <a:t>CAPEX</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Mongo MMS </a:t>
            </a:r>
            <a:r>
              <a:rPr lang="en-US" sz="3200" dirty="0" smtClean="0">
                <a:gradFill>
                  <a:gsLst>
                    <a:gs pos="0">
                      <a:srgbClr val="FFFFFF"/>
                    </a:gs>
                    <a:gs pos="100000">
                      <a:srgbClr val="FFFFFF"/>
                    </a:gs>
                  </a:gsLst>
                  <a:lin ang="5400000" scaled="0"/>
                </a:gradFill>
                <a:latin typeface="+mj-lt"/>
              </a:rPr>
              <a:t>compatibility</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managed elastic scale, query over schema free data, native JSON/JavaScript </a:t>
            </a:r>
            <a:r>
              <a:rPr lang="en-US" sz="3200" dirty="0" smtClean="0">
                <a:gradFill>
                  <a:gsLst>
                    <a:gs pos="0">
                      <a:srgbClr val="FFFFFF"/>
                    </a:gs>
                    <a:gs pos="100000">
                      <a:srgbClr val="FFFFFF"/>
                    </a:gs>
                  </a:gsLst>
                  <a:lin ang="5400000" scaled="0"/>
                </a:gradFill>
                <a:latin typeface="+mj-lt"/>
              </a:rPr>
              <a:t>support</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a:t>
            </a:r>
            <a:r>
              <a:rPr lang="en-US" sz="3200" dirty="0" smtClean="0">
                <a:gradFill>
                  <a:gsLst>
                    <a:gs pos="0">
                      <a:srgbClr val="FFFFFF"/>
                    </a:gs>
                    <a:gs pos="100000">
                      <a:srgbClr val="FFFFFF"/>
                    </a:gs>
                  </a:gsLst>
                  <a:lin ang="5400000" scaled="0"/>
                </a:gradFill>
                <a:latin typeface="+mj-lt"/>
              </a:rPr>
              <a:t>OPEX</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for-the-cloud database </a:t>
            </a:r>
            <a:r>
              <a:rPr lang="en-US" sz="3200" dirty="0" smtClean="0">
                <a:gradFill>
                  <a:gsLst>
                    <a:gs pos="0">
                      <a:srgbClr val="FFFFFF"/>
                    </a:gs>
                    <a:gs pos="100000">
                      <a:srgbClr val="FFFFFF"/>
                    </a:gs>
                  </a:gsLst>
                  <a:lin ang="5400000" scaled="0"/>
                </a:gradFill>
                <a:latin typeface="+mj-lt"/>
              </a:rPr>
              <a:t>technology</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757894"/>
            <a:ext cx="0" cy="5518619"/>
          </a:xfrm>
          <a:prstGeom prst="line">
            <a:avLst/>
          </a:prstGeom>
          <a:ln w="57150">
            <a:solidFill>
              <a:schemeClr val="tx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914225">
              <a:lnSpc>
                <a:spcPts val="2400"/>
              </a:lnSpc>
              <a:defRPr/>
            </a:pPr>
            <a:r>
              <a:rPr lang="en-US" kern="0" dirty="0">
                <a:solidFill>
                  <a:srgbClr val="FFFFFF"/>
                </a:solidFill>
              </a:rPr>
              <a:t>DocumentDB</a:t>
            </a:r>
          </a:p>
        </p:txBody>
      </p:sp>
      <p:sp>
        <p:nvSpPr>
          <p:cNvPr id="6" name="Rectangle 5"/>
          <p:cNvSpPr/>
          <p:nvPr/>
        </p:nvSpPr>
        <p:spPr>
          <a:xfrm>
            <a:off x="-1" y="811162"/>
            <a:ext cx="5998087"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215331" y="571464"/>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2972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Strong</a:t>
            </a:r>
            <a:br>
              <a:rPr lang="en-US" sz="6000" dirty="0" smtClean="0">
                <a:solidFill>
                  <a:schemeClr val="tx1"/>
                </a:solidFill>
              </a:rPr>
            </a:br>
            <a:r>
              <a:rPr lang="en-US" sz="6000" dirty="0" smtClean="0">
                <a:solidFill>
                  <a:schemeClr val="tx1"/>
                </a:solidFill>
              </a:rPr>
              <a:t>Bounded Stateless</a:t>
            </a:r>
            <a:br>
              <a:rPr lang="en-US" sz="6000" dirty="0" smtClean="0">
                <a:solidFill>
                  <a:schemeClr val="tx1"/>
                </a:solidFill>
              </a:rPr>
            </a:br>
            <a:r>
              <a:rPr lang="en-US" sz="6000" dirty="0" smtClean="0">
                <a:solidFill>
                  <a:schemeClr val="tx1"/>
                </a:solidFill>
              </a:rPr>
              <a:t>Session</a:t>
            </a:r>
            <a:br>
              <a:rPr lang="en-US" sz="6000" dirty="0" smtClean="0">
                <a:solidFill>
                  <a:schemeClr val="tx1"/>
                </a:solidFill>
              </a:rPr>
            </a:br>
            <a:r>
              <a:rPr lang="en-US" sz="6000" dirty="0" smtClean="0">
                <a:solidFill>
                  <a:schemeClr val="tx1"/>
                </a:solidFill>
              </a:rPr>
              <a:t>Eventual</a:t>
            </a:r>
            <a:endParaRPr lang="en-US" sz="6000" dirty="0">
              <a:solidFill>
                <a:schemeClr val="tx1"/>
              </a:solidFill>
            </a:endParaRPr>
          </a:p>
        </p:txBody>
      </p:sp>
      <p:pic>
        <p:nvPicPr>
          <p:cNvPr id="4" name="Picture 3"/>
          <p:cNvPicPr>
            <a:picLocks noChangeAspect="1"/>
          </p:cNvPicPr>
          <p:nvPr/>
        </p:nvPicPr>
        <p:blipFill>
          <a:blip r:embed="rId3"/>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four distinct levels</a:t>
            </a:r>
            <a:endParaRPr lang="en-US" dirty="0">
              <a:solidFill>
                <a:schemeClr val="tx1"/>
              </a:solidFill>
            </a:endParaRPr>
          </a:p>
        </p:txBody>
      </p:sp>
    </p:spTree>
    <p:extLst>
      <p:ext uri="{BB962C8B-B14F-4D97-AF65-F5344CB8AC3E}">
        <p14:creationId xmlns:p14="http://schemas.microsoft.com/office/powerpoint/2010/main" val="3140804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All </a:t>
            </a:r>
            <a:r>
              <a:rPr lang="en-US" sz="6000" dirty="0">
                <a:solidFill>
                  <a:schemeClr val="tx1"/>
                </a:solidFill>
              </a:rPr>
              <a:t>writes are visible to all readers. Writes synchronously committed by a majority quorum of replicas and reads are acknowledged by the majority read </a:t>
            </a:r>
            <a:r>
              <a:rPr lang="en-US" sz="6000" dirty="0" smtClean="0">
                <a:solidFill>
                  <a:schemeClr val="tx1"/>
                </a:solidFill>
              </a:rPr>
              <a:t>quorum.</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trong </a:t>
            </a:r>
            <a:endParaRPr lang="en-US" dirty="0">
              <a:solidFill>
                <a:schemeClr val="tx1"/>
              </a:solidFill>
            </a:endParaRPr>
          </a:p>
        </p:txBody>
      </p:sp>
    </p:spTree>
    <p:extLst>
      <p:ext uri="{BB962C8B-B14F-4D97-AF65-F5344CB8AC3E}">
        <p14:creationId xmlns:p14="http://schemas.microsoft.com/office/powerpoint/2010/main" val="3564214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Guaranteed </a:t>
            </a:r>
            <a:r>
              <a:rPr lang="en-US" sz="6000" dirty="0">
                <a:solidFill>
                  <a:schemeClr val="tx1"/>
                </a:solidFill>
              </a:rPr>
              <a:t>ordering of writes, reads adhere to minimum freshness. Writes are propagated asynchronously, reads are acknowledged by majority quorum lagging by at most K </a:t>
            </a:r>
            <a:r>
              <a:rPr lang="en-US" sz="6000" dirty="0" smtClean="0">
                <a:solidFill>
                  <a:schemeClr val="tx1"/>
                </a:solidFill>
              </a:rPr>
              <a:t>prefixes.</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Bounded Stateless</a:t>
            </a:r>
            <a:endParaRPr lang="en-US" dirty="0">
              <a:solidFill>
                <a:schemeClr val="tx1"/>
              </a:solidFill>
            </a:endParaRPr>
          </a:p>
        </p:txBody>
      </p:sp>
    </p:spTree>
    <p:extLst>
      <p:ext uri="{BB962C8B-B14F-4D97-AF65-F5344CB8AC3E}">
        <p14:creationId xmlns:p14="http://schemas.microsoft.com/office/powerpoint/2010/main" val="4166283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 </a:t>
            </a:r>
            <a:r>
              <a:rPr lang="en-US" sz="6000" dirty="0">
                <a:solidFill>
                  <a:schemeClr val="tx1"/>
                </a:solidFill>
              </a:rPr>
              <a:t>your own writes. Writes are propagated asynchronously while reads for a session are issued against the replica that can serve the requested version.</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ession</a:t>
            </a:r>
            <a:endParaRPr lang="en-US" dirty="0">
              <a:solidFill>
                <a:schemeClr val="tx1"/>
              </a:solidFill>
            </a:endParaRPr>
          </a:p>
        </p:txBody>
      </p:sp>
    </p:spTree>
    <p:extLst>
      <p:ext uri="{BB962C8B-B14F-4D97-AF65-F5344CB8AC3E}">
        <p14:creationId xmlns:p14="http://schemas.microsoft.com/office/powerpoint/2010/main" val="3502318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s </a:t>
            </a:r>
            <a:r>
              <a:rPr lang="en-US" sz="6000" dirty="0">
                <a:solidFill>
                  <a:schemeClr val="tx1"/>
                </a:solidFill>
              </a:rPr>
              <a:t>eventually converge with writes. Writes are propagated asynchronously while reads can be acknowledged by any replica. Readers may view older data then previously </a:t>
            </a:r>
            <a:r>
              <a:rPr lang="en-US" sz="6000" dirty="0" smtClean="0">
                <a:solidFill>
                  <a:schemeClr val="tx1"/>
                </a:solidFill>
              </a:rPr>
              <a:t>observed.</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Eventual</a:t>
            </a:r>
            <a:endParaRPr lang="en-US" dirty="0">
              <a:solidFill>
                <a:schemeClr val="tx1"/>
              </a:solidFill>
            </a:endParaRPr>
          </a:p>
        </p:txBody>
      </p:sp>
    </p:spTree>
    <p:extLst>
      <p:ext uri="{BB962C8B-B14F-4D97-AF65-F5344CB8AC3E}">
        <p14:creationId xmlns:p14="http://schemas.microsoft.com/office/powerpoint/2010/main" val="3980234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a:t>
            </a:r>
            <a:endParaRPr lang="en-US" dirty="0">
              <a:solidFill>
                <a:schemeClr val="tx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288197848"/>
              </p:ext>
            </p:extLst>
          </p:nvPr>
        </p:nvGraphicFramePr>
        <p:xfrm>
          <a:off x="199696" y="1680895"/>
          <a:ext cx="11792608" cy="3496210"/>
        </p:xfrm>
        <a:graphic>
          <a:graphicData uri="http://schemas.openxmlformats.org/drawingml/2006/table">
            <a:tbl>
              <a:tblPr firstRow="1" bandRow="1"/>
              <a:tblGrid>
                <a:gridCol w="2385849"/>
                <a:gridCol w="4637281"/>
                <a:gridCol w="4769478"/>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4000" i="1"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Write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Read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trong</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ync quorum write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a:t>
                      </a:r>
                      <a:r>
                        <a:rPr lang="en-US" sz="4000" baseline="0" dirty="0" smtClean="0">
                          <a:solidFill>
                            <a:schemeClr val="tx1"/>
                          </a:solidFill>
                          <a:latin typeface="+mj-lt"/>
                          <a:cs typeface="Consolas" panose="020B0609020204030204" pitchFamily="49" charset="0"/>
                        </a:rPr>
                        <a:t>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Bounded</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baseline="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475696">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 bound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Eventual</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any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756508919"/>
              </p:ext>
            </p:extLst>
          </p:nvPr>
        </p:nvGraphicFramePr>
        <p:xfrm>
          <a:off x="177554" y="5303520"/>
          <a:ext cx="12023864" cy="1554480"/>
        </p:xfrm>
        <a:graphic>
          <a:graphicData uri="http://schemas.openxmlformats.org/drawingml/2006/table">
            <a:tbl>
              <a:tblPr firstRow="1" bandRow="1">
                <a:tableStyleId>{5C22544A-7EE6-4342-B048-85BDC9FD1C3A}</a:tableStyleId>
              </a:tblPr>
              <a:tblGrid>
                <a:gridCol w="365098"/>
                <a:gridCol w="11658766"/>
              </a:tblGrid>
              <a:tr h="1245476">
                <a:tc>
                  <a:txBody>
                    <a:bodyPr/>
                    <a:lstStyle/>
                    <a:p>
                      <a:r>
                        <a:rPr lang="en-US" sz="3200" b="0" kern="1200" dirty="0" smtClean="0">
                          <a:solidFill>
                            <a:schemeClr val="tx1"/>
                          </a:solidFill>
                          <a:latin typeface="+mj-lt"/>
                          <a:ea typeface="+mn-ea"/>
                          <a:cs typeface="Consolas" panose="020B0609020204030204" pitchFamily="49" charset="0"/>
                        </a:rPr>
                        <a:t>*</a:t>
                      </a:r>
                      <a:endParaRPr lang="en-US" sz="3200" b="0" kern="1200" dirty="0">
                        <a:solidFill>
                          <a:schemeClr val="tx1"/>
                        </a:solidFill>
                        <a:latin typeface="+mj-lt"/>
                        <a:ea typeface="+mn-ea"/>
                        <a:cs typeface="Consolas" panose="020B0609020204030204" pitchFamily="49"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3200" b="0" kern="1200" dirty="0" smtClean="0">
                          <a:solidFill>
                            <a:schemeClr val="tx1"/>
                          </a:solidFill>
                          <a:latin typeface="+mj-lt"/>
                          <a:ea typeface="+mn-ea"/>
                          <a:cs typeface="Consolas" panose="020B0609020204030204" pitchFamily="49" charset="0"/>
                        </a:rPr>
                        <a:t>Ideal consistency and performance tradeoff for many application scenarios. High performance writes and reads with predictable consistency.</a:t>
                      </a:r>
                      <a:endParaRPr lang="en-US" sz="3200" b="0" kern="1200" dirty="0">
                        <a:solidFill>
                          <a:schemeClr val="tx1"/>
                        </a:solidFill>
                        <a:latin typeface="+mj-lt"/>
                        <a:ea typeface="+mn-ea"/>
                        <a:cs typeface="Consolas" panose="020B0609020204030204" pitchFamily="49"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2" name="Rectangle 1"/>
          <p:cNvSpPr/>
          <p:nvPr/>
        </p:nvSpPr>
        <p:spPr>
          <a:xfrm>
            <a:off x="1754066" y="3733065"/>
            <a:ext cx="382162" cy="707886"/>
          </a:xfrm>
          <a:prstGeom prst="rect">
            <a:avLst/>
          </a:prstGeom>
        </p:spPr>
        <p:txBody>
          <a:bodyPr wrap="square">
            <a:spAutoFit/>
          </a:bodyPr>
          <a:lstStyle/>
          <a:p>
            <a:r>
              <a:rPr lang="en-US" sz="4000" dirty="0">
                <a:latin typeface="+mj-lt"/>
                <a:cs typeface="Consolas" panose="020B0609020204030204" pitchFamily="49" charset="0"/>
              </a:rPr>
              <a:t>*</a:t>
            </a:r>
          </a:p>
        </p:txBody>
      </p:sp>
    </p:spTree>
    <p:extLst>
      <p:ext uri="{BB962C8B-B14F-4D97-AF65-F5344CB8AC3E}">
        <p14:creationId xmlns:p14="http://schemas.microsoft.com/office/powerpoint/2010/main" val="806099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20" name="TextBox 19"/>
          <p:cNvSpPr txBox="1"/>
          <p:nvPr/>
        </p:nvSpPr>
        <p:spPr>
          <a:xfrm>
            <a:off x="0" y="872295"/>
            <a:ext cx="12201417" cy="1277273"/>
          </a:xfrm>
          <a:prstGeom prst="rect">
            <a:avLst/>
          </a:prstGeom>
          <a:noFill/>
        </p:spPr>
        <p:txBody>
          <a:bodyPr wrap="square" rtlCol="0">
            <a:spAutoFit/>
          </a:bodyPr>
          <a:lstStyle/>
          <a:p>
            <a:pPr marL="252000">
              <a:spcAft>
                <a:spcPts val="600"/>
              </a:spcAft>
            </a:pPr>
            <a:r>
              <a:rPr lang="en-US" sz="3600" dirty="0" smtClean="0">
                <a:solidFill>
                  <a:schemeClr val="bg1"/>
                </a:solidFill>
                <a:latin typeface="+mj-lt"/>
                <a:cs typeface="Segoe UI" panose="020B0502040204020203" pitchFamily="34" charset="0"/>
              </a:rPr>
              <a:t>Capacity Units </a:t>
            </a:r>
            <a:r>
              <a:rPr lang="en-US" sz="3600" dirty="0">
                <a:solidFill>
                  <a:schemeClr val="bg1"/>
                </a:solidFill>
                <a:latin typeface="+mj-lt"/>
                <a:cs typeface="Segoe UI" panose="020B0502040204020203" pitchFamily="34" charset="0"/>
              </a:rPr>
              <a:t>are </a:t>
            </a:r>
            <a:r>
              <a:rPr lang="en-US" sz="3600" dirty="0" smtClean="0">
                <a:solidFill>
                  <a:schemeClr val="bg1"/>
                </a:solidFill>
                <a:latin typeface="+mj-lt"/>
                <a:cs typeface="Segoe UI" panose="020B0502040204020203" pitchFamily="34" charset="0"/>
              </a:rPr>
              <a:t>combinable</a:t>
            </a:r>
            <a:endParaRPr lang="en-US" sz="3600" dirty="0">
              <a:solidFill>
                <a:schemeClr val="bg1"/>
              </a:solidFill>
              <a:latin typeface="+mj-lt"/>
              <a:cs typeface="Segoe UI" panose="020B0502040204020203" pitchFamily="34" charset="0"/>
            </a:endParaRPr>
          </a:p>
          <a:p>
            <a:pPr marL="252000">
              <a:spcAft>
                <a:spcPts val="600"/>
              </a:spcAft>
            </a:pPr>
            <a:r>
              <a:rPr lang="en-US" sz="3600" dirty="0" smtClean="0">
                <a:solidFill>
                  <a:schemeClr val="bg1"/>
                </a:solidFill>
                <a:latin typeface="+mj-lt"/>
                <a:cs typeface="Segoe UI" panose="020B0502040204020203" pitchFamily="34" charset="0"/>
              </a:rPr>
              <a:t>Storage</a:t>
            </a:r>
            <a:r>
              <a:rPr lang="en-US" sz="3600" dirty="0">
                <a:solidFill>
                  <a:schemeClr val="bg1"/>
                </a:solidFill>
                <a:latin typeface="+mj-lt"/>
                <a:cs typeface="Segoe UI" panose="020B0502040204020203" pitchFamily="34" charset="0"/>
              </a:rPr>
              <a:t>, </a:t>
            </a:r>
            <a:r>
              <a:rPr lang="en-US" sz="3600" dirty="0" smtClean="0">
                <a:solidFill>
                  <a:schemeClr val="bg1"/>
                </a:solidFill>
                <a:latin typeface="+mj-lt"/>
                <a:cs typeface="Segoe UI" panose="020B0502040204020203" pitchFamily="34" charset="0"/>
              </a:rPr>
              <a:t>request units/second, </a:t>
            </a:r>
            <a:r>
              <a:rPr lang="en-US" sz="3600" dirty="0">
                <a:solidFill>
                  <a:schemeClr val="bg1"/>
                </a:solidFill>
                <a:latin typeface="+mj-lt"/>
                <a:cs typeface="Segoe UI" panose="020B0502040204020203" pitchFamily="34" charset="0"/>
              </a:rPr>
              <a:t>and </a:t>
            </a:r>
            <a:r>
              <a:rPr lang="en-US" sz="3600" dirty="0" smtClean="0">
                <a:solidFill>
                  <a:schemeClr val="bg1"/>
                </a:solidFill>
                <a:latin typeface="+mj-lt"/>
                <a:cs typeface="Segoe UI" panose="020B0502040204020203" pitchFamily="34" charset="0"/>
              </a:rPr>
              <a:t>price </a:t>
            </a:r>
            <a:r>
              <a:rPr lang="en-US" sz="3600" dirty="0">
                <a:solidFill>
                  <a:schemeClr val="bg1"/>
                </a:solidFill>
                <a:latin typeface="+mj-lt"/>
                <a:cs typeface="Segoe UI" panose="020B0502040204020203" pitchFamily="34" charset="0"/>
              </a:rPr>
              <a:t>scale linearly</a:t>
            </a:r>
            <a:endParaRPr lang="en-US" sz="3600" baseline="30000" dirty="0">
              <a:solidFill>
                <a:schemeClr val="bg1"/>
              </a:solidFill>
              <a:latin typeface="+mj-lt"/>
              <a:cs typeface="Segoe UI" panose="020B0502040204020203" pitchFamily="34" charset="0"/>
            </a:endParaRPr>
          </a:p>
        </p:txBody>
      </p:sp>
      <p:grpSp>
        <p:nvGrpSpPr>
          <p:cNvPr id="6" name="Group 5"/>
          <p:cNvGrpSpPr/>
          <p:nvPr/>
        </p:nvGrpSpPr>
        <p:grpSpPr>
          <a:xfrm>
            <a:off x="2348927" y="2323933"/>
            <a:ext cx="7949062" cy="4557795"/>
            <a:chOff x="4904951" y="1747867"/>
            <a:chExt cx="7949062" cy="4557795"/>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904951" y="3279554"/>
              <a:ext cx="2534989" cy="849463"/>
            </a:xfrm>
            <a:prstGeom prst="rect">
              <a:avLst/>
            </a:prstGeom>
            <a:noFill/>
          </p:spPr>
          <p:txBody>
            <a:bodyPr wrap="none" lIns="182880" tIns="146304" rIns="182880" bIns="146304" rtlCol="0">
              <a:spAutoFit/>
            </a:bodyPr>
            <a:lstStyle/>
            <a:p>
              <a:pPr algn="ctr">
                <a:lnSpc>
                  <a:spcPct val="90000"/>
                </a:lnSpc>
              </a:pPr>
              <a:r>
                <a:rPr lang="en-US" sz="2400" dirty="0">
                  <a:solidFill>
                    <a:schemeClr val="bg1"/>
                  </a:solidFill>
                  <a:latin typeface="Segoe UI Light"/>
                </a:rPr>
                <a:t>throughput</a:t>
              </a:r>
              <a:endParaRPr lang="en-US" sz="2800" dirty="0">
                <a:solidFill>
                  <a:schemeClr val="bg1"/>
                </a:solidFill>
                <a:latin typeface="Segoe UI Light"/>
              </a:endParaRPr>
            </a:p>
            <a:p>
              <a:pPr algn="ctr">
                <a:lnSpc>
                  <a:spcPct val="90000"/>
                </a:lnSpc>
              </a:pPr>
              <a:r>
                <a:rPr lang="en-US" sz="1600" dirty="0" smtClean="0">
                  <a:solidFill>
                    <a:schemeClr val="bg1"/>
                  </a:solidFill>
                  <a:latin typeface="Segoe UI Light"/>
                </a:rPr>
                <a:t>Request units per second</a:t>
              </a:r>
              <a:endParaRPr lang="en-US" sz="1600" dirty="0">
                <a:solidFill>
                  <a:schemeClr val="bg1"/>
                </a:solidFill>
                <a:latin typeface="Segoe UI Light"/>
              </a:endParaRPr>
            </a:p>
          </p:txBody>
        </p:sp>
        <p:sp>
          <p:nvSpPr>
            <p:cNvPr id="19" name="TextBox 18"/>
            <p:cNvSpPr txBox="1"/>
            <p:nvPr/>
          </p:nvSpPr>
          <p:spPr>
            <a:xfrm>
              <a:off x="8652570" y="5456199"/>
              <a:ext cx="1767150" cy="849463"/>
            </a:xfrm>
            <a:prstGeom prst="rect">
              <a:avLst/>
            </a:prstGeom>
            <a:noFill/>
          </p:spPr>
          <p:txBody>
            <a:bodyPr wrap="none" lIns="182880" tIns="146304" rIns="182880" bIns="146304" rtlCol="0">
              <a:spAutoFit/>
            </a:bodyPr>
            <a:lstStyle/>
            <a:p>
              <a:pPr algn="ctr">
                <a:lnSpc>
                  <a:spcPct val="90000"/>
                </a:lnSpc>
              </a:pPr>
              <a:r>
                <a:rPr lang="en-US" sz="2400" dirty="0" err="1">
                  <a:solidFill>
                    <a:schemeClr val="bg1"/>
                  </a:solidFill>
                  <a:latin typeface="Segoe UI Light"/>
                </a:rPr>
                <a:t>db</a:t>
              </a:r>
              <a:r>
                <a:rPr lang="en-US" sz="2400" dirty="0">
                  <a:solidFill>
                    <a:schemeClr val="bg1"/>
                  </a:solidFill>
                  <a:latin typeface="Segoe UI Light"/>
                </a:rPr>
                <a:t> storage</a:t>
              </a:r>
              <a:endParaRPr lang="en-US" sz="2800" dirty="0">
                <a:solidFill>
                  <a:schemeClr val="bg1"/>
                </a:solidFill>
                <a:latin typeface="Segoe UI Light"/>
              </a:endParaRPr>
            </a:p>
            <a:p>
              <a:pPr algn="ctr">
                <a:lnSpc>
                  <a:spcPct val="90000"/>
                </a:lnSpc>
              </a:pPr>
              <a:r>
                <a:rPr lang="en-US" sz="1600" dirty="0">
                  <a:solidFill>
                    <a:schemeClr val="bg1"/>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6" name="TextBox 25"/>
            <p:cNvSpPr txBox="1"/>
            <p:nvPr/>
          </p:nvSpPr>
          <p:spPr>
            <a:xfrm>
              <a:off x="10346849" y="1878239"/>
              <a:ext cx="2507164" cy="960263"/>
            </a:xfrm>
            <a:prstGeom prst="rect">
              <a:avLst/>
            </a:prstGeom>
            <a:noFill/>
          </p:spPr>
          <p:txBody>
            <a:bodyPr wrap="square" lIns="182880" tIns="146304" rIns="182880" bIns="146304" rtlCol="0">
              <a:spAutoFit/>
            </a:bodyPr>
            <a:lstStyle/>
            <a:p>
              <a:pPr algn="ctr">
                <a:lnSpc>
                  <a:spcPct val="90000"/>
                </a:lnSpc>
              </a:pPr>
              <a:r>
                <a:rPr lang="en-US" sz="2400" dirty="0">
                  <a:solidFill>
                    <a:schemeClr val="bg1"/>
                  </a:solidFill>
                  <a:latin typeface="Segoe UI Light"/>
                </a:rPr>
                <a:t>provisioned capacity units</a:t>
              </a:r>
            </a:p>
          </p:txBody>
        </p:sp>
      </p:grpSp>
      <p:sp>
        <p:nvSpPr>
          <p:cNvPr id="2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dirty="0" smtClean="0">
                <a:ln>
                  <a:noFill/>
                </a:ln>
                <a:solidFill>
                  <a:srgbClr val="FFFFFF"/>
                </a:solidFill>
                <a:effectLst/>
                <a:uLnTx/>
                <a:uFillTx/>
                <a:latin typeface="Segoe UI Light"/>
                <a:ea typeface="+mj-ea"/>
                <a:cs typeface="+mj-cs"/>
              </a:rPr>
              <a:t>Pricing</a:t>
            </a:r>
            <a:r>
              <a:rPr kumimoji="0" lang="en-US" sz="2800" b="0" i="0" u="none" strike="noStrike" kern="1200" cap="none" spc="0" normalizeH="0" dirty="0" smtClean="0">
                <a:ln>
                  <a:noFill/>
                </a:ln>
                <a:solidFill>
                  <a:srgbClr val="FFFFFF"/>
                </a:solidFill>
                <a:effectLst/>
                <a:uLnTx/>
                <a:uFillTx/>
                <a:latin typeface="Segoe UI Light"/>
                <a:ea typeface="+mj-ea"/>
                <a:cs typeface="+mj-cs"/>
              </a:rPr>
              <a:t> principles</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9" name="Picture 28"/>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09562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5" name="TextBox 4"/>
          <p:cNvSpPr txBox="1"/>
          <p:nvPr/>
        </p:nvSpPr>
        <p:spPr>
          <a:xfrm>
            <a:off x="-18835" y="6134725"/>
            <a:ext cx="12210836" cy="723275"/>
          </a:xfrm>
          <a:prstGeom prst="rect">
            <a:avLst/>
          </a:prstGeom>
          <a:noFill/>
        </p:spPr>
        <p:txBody>
          <a:bodyPr wrap="square" rtlCol="0" anchor="b">
            <a:noAutofit/>
          </a:bodyPr>
          <a:lstStyle/>
          <a:p>
            <a:pPr marL="252000" indent="-342900">
              <a:spcAft>
                <a:spcPts val="600"/>
              </a:spcAft>
              <a:buFont typeface="+mj-lt"/>
              <a:buAutoNum type="arabicPeriod"/>
            </a:pPr>
            <a:r>
              <a:rPr lang="en-US" sz="2000" dirty="0" smtClean="0">
                <a:solidFill>
                  <a:schemeClr val="bg1"/>
                </a:solidFill>
                <a:latin typeface="+mj-lt"/>
                <a:cs typeface="Segoe UI" panose="020B0502040204020203" pitchFamily="34" charset="0"/>
              </a:rPr>
              <a:t>Attached </a:t>
            </a:r>
            <a:r>
              <a:rPr lang="en-US" sz="2000" dirty="0">
                <a:solidFill>
                  <a:schemeClr val="bg1"/>
                </a:solidFill>
                <a:latin typeface="+mj-lt"/>
                <a:cs typeface="Segoe UI" panose="020B0502040204020203" pitchFamily="34" charset="0"/>
              </a:rPr>
              <a:t>BLOB storage </a:t>
            </a:r>
            <a:r>
              <a:rPr lang="en-US" sz="2000" dirty="0" smtClean="0">
                <a:solidFill>
                  <a:schemeClr val="bg1"/>
                </a:solidFill>
                <a:latin typeface="+mj-lt"/>
                <a:cs typeface="Segoe UI" panose="020B0502040204020203" pitchFamily="34" charset="0"/>
              </a:rPr>
              <a:t>not included in </a:t>
            </a:r>
            <a:r>
              <a:rPr lang="en-US" sz="2000" dirty="0" err="1" smtClean="0">
                <a:solidFill>
                  <a:schemeClr val="bg1"/>
                </a:solidFill>
                <a:latin typeface="+mj-lt"/>
                <a:cs typeface="Segoe UI" panose="020B0502040204020203" pitchFamily="34" charset="0"/>
              </a:rPr>
              <a:t>db</a:t>
            </a:r>
            <a:r>
              <a:rPr lang="en-US" sz="2000" dirty="0" smtClean="0">
                <a:solidFill>
                  <a:schemeClr val="bg1"/>
                </a:solidFill>
                <a:latin typeface="+mj-lt"/>
                <a:cs typeface="Segoe UI" panose="020B0502040204020203" pitchFamily="34" charset="0"/>
              </a:rPr>
              <a:t> storage.</a:t>
            </a:r>
            <a:endParaRPr lang="en-US" sz="2000" dirty="0">
              <a:solidFill>
                <a:schemeClr val="bg1"/>
              </a:solidFill>
              <a:latin typeface="+mj-lt"/>
              <a:cs typeface="Segoe UI" panose="020B0502040204020203" pitchFamily="34" charset="0"/>
            </a:endParaRPr>
          </a:p>
          <a:p>
            <a:pPr marL="252000" indent="-342900">
              <a:spcAft>
                <a:spcPts val="600"/>
              </a:spcAft>
              <a:buFont typeface="+mj-lt"/>
              <a:buAutoNum type="arabicPeriod"/>
            </a:pPr>
            <a:r>
              <a:rPr lang="en-US" sz="2000" dirty="0">
                <a:solidFill>
                  <a:schemeClr val="bg1"/>
                </a:solidFill>
                <a:latin typeface="+mj-lt"/>
                <a:cs typeface="Segoe UI" panose="020B0502040204020203" pitchFamily="34" charset="0"/>
              </a:rPr>
              <a:t>Storage is inclusive of document data and indexes; we will provide guidance on limits for other DB entities. </a:t>
            </a:r>
          </a:p>
        </p:txBody>
      </p:sp>
      <p:sp>
        <p:nvSpPr>
          <p:cNvPr id="8" name="Rectangle 7"/>
          <p:cNvSpPr/>
          <p:nvPr/>
        </p:nvSpPr>
        <p:spPr>
          <a:xfrm>
            <a:off x="-9418" y="0"/>
            <a:ext cx="12201418" cy="6858000"/>
          </a:xfrm>
          <a:prstGeom prst="rect">
            <a:avLst/>
          </a:prstGeom>
          <a:noFill/>
          <a:ln>
            <a:noFill/>
          </a:ln>
        </p:spPr>
        <p:txBody>
          <a:bodyPr wrap="square" anchor="ctr">
            <a:noAutofit/>
          </a:bodyPr>
          <a:lstStyle/>
          <a:p>
            <a:pPr marL="252000" defTabSz="914050" fontAlgn="base">
              <a:spcBef>
                <a:spcPts val="1200"/>
              </a:spcBef>
              <a:spcAft>
                <a:spcPct val="0"/>
              </a:spcAft>
            </a:pPr>
            <a:r>
              <a:rPr lang="en-US" sz="4400" dirty="0" smtClean="0">
                <a:solidFill>
                  <a:schemeClr val="bg1"/>
                </a:solidFill>
                <a:latin typeface="Segoe UI Light"/>
              </a:rPr>
              <a:t>10GB </a:t>
            </a:r>
            <a:r>
              <a:rPr lang="en-US" sz="4400" dirty="0">
                <a:solidFill>
                  <a:schemeClr val="bg1"/>
                </a:solidFill>
                <a:latin typeface="Segoe UI Light"/>
              </a:rPr>
              <a:t>database storage</a:t>
            </a:r>
            <a:r>
              <a:rPr lang="en-US" sz="4400" baseline="30000" dirty="0">
                <a:solidFill>
                  <a:schemeClr val="bg1"/>
                </a:solidFill>
                <a:latin typeface="Segoe UI Light"/>
              </a:rPr>
              <a:t>1,2</a:t>
            </a:r>
          </a:p>
          <a:p>
            <a:pPr marL="252000" defTabSz="914050" fontAlgn="base">
              <a:spcBef>
                <a:spcPts val="1200"/>
              </a:spcBef>
              <a:spcAft>
                <a:spcPct val="0"/>
              </a:spcAft>
            </a:pPr>
            <a:r>
              <a:rPr lang="en-US" sz="4400" dirty="0">
                <a:solidFill>
                  <a:schemeClr val="bg1"/>
                </a:solidFill>
                <a:latin typeface="Segoe UI Light"/>
              </a:rPr>
              <a:t>2000Request units per second</a:t>
            </a:r>
          </a:p>
          <a:p>
            <a:pPr marL="252000" defTabSz="914050" fontAlgn="base">
              <a:spcBef>
                <a:spcPts val="1200"/>
              </a:spcBef>
              <a:spcAft>
                <a:spcPct val="0"/>
              </a:spcAft>
            </a:pPr>
            <a:r>
              <a:rPr lang="en-US" sz="4400" dirty="0">
                <a:solidFill>
                  <a:schemeClr val="bg1"/>
                </a:solidFill>
                <a:latin typeface="Segoe UI Light"/>
              </a:rPr>
              <a:t>$22.50/month</a:t>
            </a:r>
          </a:p>
          <a:p>
            <a:pPr marL="252000" defTabSz="914050" fontAlgn="base">
              <a:spcBef>
                <a:spcPts val="1200"/>
              </a:spcBef>
              <a:spcAft>
                <a:spcPct val="0"/>
              </a:spcAft>
            </a:pPr>
            <a:r>
              <a:rPr lang="en-US" sz="4400" dirty="0">
                <a:solidFill>
                  <a:schemeClr val="bg1"/>
                </a:solidFill>
                <a:latin typeface="Segoe UI Light"/>
              </a:rPr>
              <a:t>D</a:t>
            </a:r>
            <a:r>
              <a:rPr lang="en-US" sz="4400" dirty="0" smtClean="0">
                <a:solidFill>
                  <a:schemeClr val="bg1"/>
                </a:solidFill>
                <a:latin typeface="Segoe UI Light"/>
              </a:rPr>
              <a:t>iscounted </a:t>
            </a:r>
            <a:r>
              <a:rPr lang="en-US" sz="4400" dirty="0">
                <a:solidFill>
                  <a:schemeClr val="bg1"/>
                </a:solidFill>
                <a:latin typeface="Segoe UI Light"/>
              </a:rPr>
              <a:t>50% for </a:t>
            </a:r>
            <a:r>
              <a:rPr lang="en-US" sz="4400" dirty="0" smtClean="0">
                <a:solidFill>
                  <a:schemeClr val="bg1"/>
                </a:solidFill>
                <a:latin typeface="Segoe UI Light"/>
              </a:rPr>
              <a:t>Preview</a:t>
            </a:r>
            <a:endParaRPr lang="en-US" sz="4400" dirty="0">
              <a:solidFill>
                <a:schemeClr val="bg1"/>
              </a:solidFill>
              <a:latin typeface="Segoe UI Light"/>
            </a:endParaRPr>
          </a:p>
        </p:txBody>
      </p:sp>
      <p:sp>
        <p:nvSpPr>
          <p:cNvPr id="2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lvl="0"/>
            <a:r>
              <a:rPr lang="en-US" dirty="0"/>
              <a:t>Standard Offer for Preview</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8" name="Picture 27"/>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716055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p:cNvSpPr>
            <a:spLocks noGrp="1"/>
          </p:cNvSpPr>
          <p:nvPr>
            <p:ph idx="4294967295"/>
          </p:nvPr>
        </p:nvSpPr>
        <p:spPr>
          <a:xfrm>
            <a:off x="0" y="1111442"/>
            <a:ext cx="12192000" cy="4635115"/>
          </a:xfrm>
        </p:spPr>
        <p:txBody>
          <a:bodyPr anchor="ctr"/>
          <a:lstStyle/>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s are provisioned for each database account based on the number of capacity units purchase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 consumption is evaluated as a rate per secon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If your application requires a higher level of throughput, you can purchase additional capacity units</a:t>
            </a:r>
            <a:r>
              <a:rPr lang="en-US" sz="3600" dirty="0" smtClean="0">
                <a:solidFill>
                  <a:schemeClr val="tx1">
                    <a:lumMod val="65000"/>
                    <a:lumOff val="35000"/>
                  </a:schemeClr>
                </a:solidFill>
                <a:latin typeface="Segoe UI Light"/>
              </a:rPr>
              <a:t>.</a:t>
            </a:r>
            <a:endParaRPr lang="en-US" sz="3600" dirty="0">
              <a:solidFill>
                <a:schemeClr val="tx1">
                  <a:lumMod val="65000"/>
                  <a:lumOff val="35000"/>
                </a:schemeClr>
              </a:solidFill>
              <a:latin typeface="Segoe UI Light"/>
            </a:endParaRPr>
          </a:p>
        </p:txBody>
      </p:sp>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050482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ext uri="{D42A27DB-BD31-4B8C-83A1-F6EECF244321}">
                <p14:modId xmlns:p14="http://schemas.microsoft.com/office/powerpoint/2010/main" val="3557919383"/>
              </p:ext>
            </p:extLst>
          </p:nvPr>
        </p:nvGraphicFramePr>
        <p:xfrm>
          <a:off x="457200" y="1458435"/>
          <a:ext cx="11277600" cy="4109085"/>
        </p:xfrm>
        <a:graphic>
          <a:graphicData uri="http://schemas.openxmlformats.org/drawingml/2006/table">
            <a:tbl>
              <a:tblPr firstRow="1" bandRow="1">
                <a:tableStyleId>{5A111915-BE36-4E01-A7E5-04B1672EAD32}</a:tableStyleId>
              </a:tblPr>
              <a:tblGrid>
                <a:gridCol w="6096000"/>
                <a:gridCol w="5181600"/>
              </a:tblGrid>
              <a:tr h="370840">
                <a:tc>
                  <a:txBody>
                    <a:bodyPr/>
                    <a:lstStyle/>
                    <a:p>
                      <a:pPr marL="0" marR="0">
                        <a:lnSpc>
                          <a:spcPct val="107000"/>
                        </a:lnSpc>
                        <a:spcBef>
                          <a:spcPts val="0"/>
                        </a:spcBef>
                        <a:spcAft>
                          <a:spcPts val="800"/>
                        </a:spcAft>
                      </a:pPr>
                      <a:r>
                        <a:rPr lang="en-US" sz="2800" b="0" dirty="0" smtClean="0">
                          <a:solidFill>
                            <a:schemeClr val="tx1"/>
                          </a:solidFill>
                          <a:effectLst/>
                          <a:latin typeface="+mj-lt"/>
                        </a:rPr>
                        <a:t>Database Operation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smtClean="0">
                          <a:solidFill>
                            <a:schemeClr val="tx1"/>
                          </a:solidFill>
                          <a:effectLst/>
                          <a:latin typeface="+mj-lt"/>
                        </a:rPr>
                        <a:t>Operations/sec/capacity</a:t>
                      </a:r>
                      <a:r>
                        <a:rPr lang="en-US" sz="2800" b="0" baseline="0" dirty="0" smtClean="0">
                          <a:solidFill>
                            <a:schemeClr val="tx1"/>
                          </a:solidFill>
                          <a:effectLst/>
                          <a:latin typeface="+mj-lt"/>
                        </a:rPr>
                        <a:t> uni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Read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2000 read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Inserting/Replacing/Delet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500 inserts/replace/delet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Query a collection with a simple predicate and returning a </a:t>
                      </a:r>
                      <a:r>
                        <a:rPr lang="en-US" sz="2800" b="0">
                          <a:solidFill>
                            <a:schemeClr val="tx1"/>
                          </a:solidFill>
                          <a:effectLst/>
                          <a:latin typeface="+mj-lt"/>
                        </a:rPr>
                        <a:t>single </a:t>
                      </a:r>
                      <a:r>
                        <a:rPr lang="en-US" sz="2800" b="0" smtClean="0">
                          <a:solidFill>
                            <a:schemeClr val="tx1"/>
                          </a:solidFill>
                          <a:effectLst/>
                          <a:latin typeface="+mj-lt"/>
                        </a:rPr>
                        <a:t>§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1000 queri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Stored Procedure a 50 document insert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a:solidFill>
                            <a:schemeClr val="tx1"/>
                          </a:solidFill>
                          <a:effectLst/>
                          <a:latin typeface="+mj-lt"/>
                        </a:rPr>
                        <a:t>20 stored procedure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757616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err="1" smtClean="0">
                <a:latin typeface="+mj-lt"/>
              </a:rPr>
              <a:t>Overview</a:t>
            </a:r>
            <a:r>
              <a:rPr lang="sv-SE" sz="4400" dirty="0" smtClean="0">
                <a:latin typeface="+mj-lt"/>
              </a:rPr>
              <a:t> of DocumentDB in the portal</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60488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C86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213803"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7070296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2"/>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147169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Why are we talking about Search?</a:t>
            </a:r>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4400" dirty="0" smtClean="0"/>
              <a:t>Users </a:t>
            </a:r>
            <a:r>
              <a:rPr lang="en-US" sz="4400" dirty="0"/>
              <a:t>find search as a natural, low friction way to interact with applications that manage lots of data</a:t>
            </a:r>
          </a:p>
          <a:p>
            <a:pPr marL="252000" algn="l">
              <a:spcBef>
                <a:spcPts val="1200"/>
              </a:spcBef>
            </a:pPr>
            <a:r>
              <a:rPr lang="en-US" sz="4400" dirty="0" smtClean="0"/>
              <a:t>Web </a:t>
            </a:r>
            <a:r>
              <a:rPr lang="en-US" sz="4400" dirty="0"/>
              <a:t>search engines have set the bar high for search</a:t>
            </a:r>
          </a:p>
          <a:p>
            <a:pPr marL="252000" algn="l">
              <a:spcBef>
                <a:spcPts val="1200"/>
              </a:spcBef>
            </a:pPr>
            <a:r>
              <a:rPr lang="en-US" sz="4400" dirty="0" smtClean="0"/>
              <a:t>Search </a:t>
            </a:r>
            <a:r>
              <a:rPr lang="en-US" sz="4400" dirty="0"/>
              <a:t>is hard and rarely a core expertise </a:t>
            </a:r>
            <a:r>
              <a:rPr lang="en-US" sz="4400" dirty="0" smtClean="0"/>
              <a:t>area</a:t>
            </a:r>
            <a:endParaRPr lang="en-US" sz="4400" dirty="0"/>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
        <p:nvSpPr>
          <p:cNvPr id="2" name="Rectangle 1"/>
          <p:cNvSpPr/>
          <p:nvPr/>
        </p:nvSpPr>
        <p:spPr>
          <a:xfrm>
            <a:off x="1" y="1731146"/>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 y="298067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 y="441593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136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xit" presetSubtype="0" fill="hold" grpId="0" nodeType="with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P spid="6" grpId="1" animBg="1"/>
      <p:bldP spid="6" grpId="2" animBg="1"/>
      <p:bldP spid="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smtClean="0"/>
              <a:t>… is </a:t>
            </a:r>
            <a:r>
              <a:rPr lang="en-US" sz="5400" dirty="0"/>
              <a:t>a</a:t>
            </a:r>
            <a:r>
              <a:rPr lang="en-US" sz="5400" dirty="0" smtClean="0"/>
              <a:t> fully managed </a:t>
            </a:r>
            <a:r>
              <a:rPr lang="en-US" sz="5400" dirty="0"/>
              <a:t>search solution that allows developers to enable search experiences in applications. </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60330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Embed a sophisticated search experience into web and mobile applications without having to worry about the complexities of full-text search and without having to deploy, maintain or manage any infrastructure.</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5965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Perfect for enterprise cloud developers, cloud software vendors, cloud architects who need a fully-managed search solution.</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9558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Simple HTTP/JSON API for creating indexes, pushing documents, search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Keyword search with user-friendly operators (+, -, *, “”, etc.)</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Hit highlight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Faceting (histograms over ranges, typically used in catalog browsing)</a:t>
            </a: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117443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404210"/>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641735"/>
            <a:ext cx="12192000" cy="77626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 y="4412472"/>
            <a:ext cx="12192000" cy="12953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79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1"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1"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a:latin typeface="Segoe UI Light" panose="020B0502040204020203" pitchFamily="34" charset="0"/>
                <a:cs typeface="Segoe UI Light" panose="020B0502040204020203" pitchFamily="34" charset="0"/>
              </a:rPr>
              <a:t>Suggestions (auto-complet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Rich structured queries (filter, select, sort) that combines with search</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Scoring profiles to model search result relevanc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Geo-spatial support integrated in filtering, sorting and </a:t>
            </a:r>
            <a:r>
              <a:rPr lang="en-US" sz="4000" dirty="0" smtClean="0">
                <a:latin typeface="Segoe UI Light" panose="020B0502040204020203" pitchFamily="34" charset="0"/>
                <a:cs typeface="Segoe UI Light" panose="020B0502040204020203" pitchFamily="34" charset="0"/>
              </a:rPr>
              <a:t>ranking</a:t>
            </a:r>
            <a:endParaRPr lang="en-US" sz="4000" dirty="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9359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199225"/>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429001"/>
            <a:ext cx="12192000" cy="71948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9525" y="4148489"/>
            <a:ext cx="12192000" cy="123203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21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0"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2192000" cy="6858000"/>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lgn="ctr">
              <a:defRPr/>
            </a:pPr>
            <a:r>
              <a:rPr sz="6000" dirty="0">
                <a:solidFill>
                  <a:schemeClr val="bg1"/>
                </a:solidFill>
              </a:rPr>
              <a:t>What does Azure Search cost?</a:t>
            </a:r>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259956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4537839" y="3291947"/>
            <a:ext cx="3457593" cy="2589144"/>
            <a:chOff x="3876643" y="2553040"/>
            <a:chExt cx="3457593" cy="2589144"/>
          </a:xfrm>
        </p:grpSpPr>
        <p:sp>
          <p:nvSpPr>
            <p:cNvPr id="7" name="Rectangle 6"/>
            <p:cNvSpPr/>
            <p:nvPr/>
          </p:nvSpPr>
          <p:spPr>
            <a:xfrm>
              <a:off x="3876643" y="4284934"/>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4743424" y="4284934"/>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743424" y="3421899"/>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3876643" y="3418987"/>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5610205"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5610205"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6476986"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6476986"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4743424"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3876643"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5610205"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6476986"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TextBox 19"/>
          <p:cNvSpPr txBox="1"/>
          <p:nvPr/>
        </p:nvSpPr>
        <p:spPr>
          <a:xfrm>
            <a:off x="3890068" y="5946954"/>
            <a:ext cx="4753134"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Partitions</a:t>
            </a:r>
          </a:p>
          <a:p>
            <a:pPr algn="ctr"/>
            <a:r>
              <a:rPr lang="en-US" sz="2400" dirty="0">
                <a:solidFill>
                  <a:schemeClr val="bg1"/>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1959318" y="4243238"/>
            <a:ext cx="4274412"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Replicas</a:t>
            </a:r>
            <a:br>
              <a:rPr lang="en-US" sz="2400" dirty="0">
                <a:solidFill>
                  <a:schemeClr val="bg1"/>
                </a:solidFill>
                <a:latin typeface="Segoe UI Light" panose="020B0502040204020203" pitchFamily="34" charset="0"/>
                <a:cs typeface="Segoe UI Light" panose="020B0502040204020203" pitchFamily="34" charset="0"/>
              </a:rPr>
            </a:br>
            <a:r>
              <a:rPr lang="en-US" sz="2400" dirty="0">
                <a:solidFill>
                  <a:schemeClr val="bg1"/>
                </a:solidFill>
                <a:latin typeface="Segoe UI Light" panose="020B0502040204020203" pitchFamily="34" charset="0"/>
                <a:cs typeface="Segoe UI Light" panose="020B0502040204020203" pitchFamily="34" charset="0"/>
              </a:rPr>
              <a:t>(more queries, more HA)</a:t>
            </a:r>
          </a:p>
        </p:txBody>
      </p:sp>
      <p:sp>
        <p:nvSpPr>
          <p:cNvPr id="26" name="TextBox 25"/>
          <p:cNvSpPr txBox="1"/>
          <p:nvPr/>
        </p:nvSpPr>
        <p:spPr>
          <a:xfrm>
            <a:off x="0" y="902684"/>
            <a:ext cx="12192000" cy="1852531"/>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3600" dirty="0" smtClean="0">
                <a:solidFill>
                  <a:schemeClr val="bg1"/>
                </a:solidFill>
                <a:latin typeface="+mj-lt"/>
              </a:rPr>
              <a:t>Capacity </a:t>
            </a:r>
            <a:r>
              <a:rPr lang="en-US" sz="3600" dirty="0">
                <a:solidFill>
                  <a:schemeClr val="bg1"/>
                </a:solidFill>
                <a:latin typeface="+mj-lt"/>
              </a:rPr>
              <a:t>Units are combinable</a:t>
            </a:r>
          </a:p>
          <a:p>
            <a:pPr marL="252000"/>
            <a:r>
              <a:rPr lang="en-US" sz="3600" dirty="0">
                <a:solidFill>
                  <a:schemeClr val="bg1"/>
                </a:solidFill>
                <a:latin typeface="+mj-lt"/>
              </a:rPr>
              <a:t>Search units stack horizontally and vertically</a:t>
            </a: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ricing principles</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555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0" y="0"/>
            <a:ext cx="12192000" cy="6858000"/>
          </a:xfrm>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idx="4294967295"/>
          </p:nvPr>
        </p:nvSpPr>
        <p:spPr>
          <a:xfrm>
            <a:off x="0" y="0"/>
            <a:ext cx="12192000" cy="925513"/>
          </a:xfrm>
        </p:spPr>
        <p:txBody>
          <a:bodyPr/>
          <a:lstStyle/>
          <a:p>
            <a:r>
              <a:rPr lang="en-US" dirty="0">
                <a:solidFill>
                  <a:schemeClr val="bg1"/>
                </a:solidFill>
              </a:rPr>
              <a:t>Microsoft </a:t>
            </a:r>
            <a:r>
              <a:rPr lang="en-US" dirty="0" smtClean="0">
                <a:solidFill>
                  <a:schemeClr val="bg1"/>
                </a:solidFill>
              </a:rPr>
              <a:t>Azure SQL </a:t>
            </a:r>
            <a:r>
              <a:rPr lang="en-US" dirty="0">
                <a:solidFill>
                  <a:schemeClr val="bg1"/>
                </a:solidFill>
              </a:rPr>
              <a:t>Database</a:t>
            </a:r>
          </a:p>
        </p:txBody>
      </p:sp>
      <p:sp>
        <p:nvSpPr>
          <p:cNvPr id="5" name="Subtitle 3"/>
          <p:cNvSpPr txBox="1">
            <a:spLocks/>
          </p:cNvSpPr>
          <p:nvPr/>
        </p:nvSpPr>
        <p:spPr>
          <a:xfrm>
            <a:off x="0" y="1722922"/>
            <a:ext cx="12192000" cy="513507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3200" smtClean="0"/>
              <a:t>Starting with the basics</a:t>
            </a:r>
            <a:endParaRPr lang="en-US" sz="3200" dirty="0"/>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0" y="0"/>
            <a:ext cx="12192000" cy="6858000"/>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spcBef>
                <a:spcPts val="1200"/>
              </a:spcBef>
              <a:spcAft>
                <a:spcPts val="0"/>
              </a:spcAft>
            </a:pPr>
            <a:r>
              <a:rPr lang="en-US" sz="4800" dirty="0" smtClean="0">
                <a:solidFill>
                  <a:schemeClr val="bg1"/>
                </a:solidFill>
                <a:latin typeface="+mj-lt"/>
              </a:rPr>
              <a:t>15MM </a:t>
            </a:r>
            <a:r>
              <a:rPr lang="en-US" sz="4800" dirty="0">
                <a:solidFill>
                  <a:schemeClr val="bg1"/>
                </a:solidFill>
                <a:latin typeface="+mj-lt"/>
              </a:rPr>
              <a:t>documents</a:t>
            </a:r>
          </a:p>
          <a:p>
            <a:pPr marL="252000">
              <a:spcBef>
                <a:spcPts val="1200"/>
              </a:spcBef>
              <a:spcAft>
                <a:spcPts val="0"/>
              </a:spcAft>
            </a:pPr>
            <a:r>
              <a:rPr lang="en-US" sz="4800" dirty="0" smtClean="0">
                <a:solidFill>
                  <a:schemeClr val="bg1"/>
                </a:solidFill>
                <a:latin typeface="+mj-lt"/>
              </a:rPr>
              <a:t>25GB </a:t>
            </a:r>
            <a:r>
              <a:rPr lang="en-US" sz="4800" dirty="0">
                <a:solidFill>
                  <a:schemeClr val="bg1"/>
                </a:solidFill>
                <a:latin typeface="+mj-lt"/>
              </a:rPr>
              <a:t>database storage</a:t>
            </a:r>
          </a:p>
          <a:p>
            <a:pPr marL="252000">
              <a:spcBef>
                <a:spcPts val="1200"/>
              </a:spcBef>
              <a:spcAft>
                <a:spcPts val="0"/>
              </a:spcAft>
            </a:pPr>
            <a:r>
              <a:rPr lang="en-US" sz="4800" dirty="0" smtClean="0">
                <a:solidFill>
                  <a:schemeClr val="bg1"/>
                </a:solidFill>
                <a:latin typeface="+mj-lt"/>
              </a:rPr>
              <a:t>15 queries </a:t>
            </a:r>
            <a:r>
              <a:rPr lang="en-US" sz="4800" dirty="0">
                <a:solidFill>
                  <a:schemeClr val="bg1"/>
                </a:solidFill>
                <a:latin typeface="+mj-lt"/>
              </a:rPr>
              <a:t>per </a:t>
            </a:r>
            <a:r>
              <a:rPr lang="en-US" sz="4800" dirty="0" smtClean="0">
                <a:solidFill>
                  <a:schemeClr val="bg1"/>
                </a:solidFill>
                <a:latin typeface="+mj-lt"/>
              </a:rPr>
              <a:t>second</a:t>
            </a:r>
            <a:endParaRPr lang="en-US" sz="4800" dirty="0">
              <a:solidFill>
                <a:schemeClr val="bg1"/>
              </a:solidFill>
              <a:latin typeface="+mj-lt"/>
            </a:endParaRPr>
          </a:p>
          <a:p>
            <a:pPr marL="252000">
              <a:spcBef>
                <a:spcPts val="1200"/>
              </a:spcBef>
              <a:spcAft>
                <a:spcPts val="0"/>
              </a:spcAft>
            </a:pPr>
            <a:r>
              <a:rPr lang="en-US" sz="4800" dirty="0">
                <a:solidFill>
                  <a:schemeClr val="bg1"/>
                </a:solidFill>
                <a:latin typeface="+mj-lt"/>
              </a:rPr>
              <a:t>$</a:t>
            </a:r>
            <a:r>
              <a:rPr lang="en-US" sz="4800" dirty="0" smtClean="0">
                <a:solidFill>
                  <a:schemeClr val="bg1"/>
                </a:solidFill>
                <a:latin typeface="+mj-lt"/>
              </a:rPr>
              <a:t>250.00/month</a:t>
            </a:r>
            <a:endParaRPr lang="en-US" sz="4800" dirty="0">
              <a:solidFill>
                <a:schemeClr val="bg1"/>
              </a:solidFill>
              <a:latin typeface="+mj-lt"/>
            </a:endParaRP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sv-SE" dirty="0" smtClean="0"/>
              <a:t>Azure </a:t>
            </a:r>
            <a:r>
              <a:rPr lang="sv-SE" dirty="0" err="1" smtClean="0"/>
              <a:t>Search</a:t>
            </a:r>
            <a:r>
              <a:rPr lang="sv-SE" dirty="0" smtClean="0"/>
              <a:t> Standard Offer</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
        <p:nvSpPr>
          <p:cNvPr id="22" name="TextBox 21"/>
          <p:cNvSpPr txBox="1"/>
          <p:nvPr/>
        </p:nvSpPr>
        <p:spPr>
          <a:xfrm>
            <a:off x="9525" y="6057782"/>
            <a:ext cx="12192000" cy="800217"/>
          </a:xfrm>
          <a:prstGeom prst="rect">
            <a:avLst/>
          </a:prstGeom>
          <a:noFill/>
        </p:spPr>
        <p:txBody>
          <a:bodyPr wrap="square" rtlCol="0" anchor="b">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2400" dirty="0">
                <a:solidFill>
                  <a:schemeClr val="bg1"/>
                </a:solidFill>
                <a:latin typeface="+mj-lt"/>
              </a:rPr>
              <a:t>Document count and throughput based on benchmark index and queries.</a:t>
            </a:r>
          </a:p>
          <a:p>
            <a:pPr marL="252000"/>
            <a:r>
              <a:rPr lang="en-US" sz="2400" dirty="0" smtClean="0">
                <a:solidFill>
                  <a:schemeClr val="bg1"/>
                </a:solidFill>
                <a:latin typeface="+mj-lt"/>
              </a:rPr>
              <a:t>Discounted 50% for Preview.</a:t>
            </a:r>
            <a:endParaRPr lang="en-US" sz="2400" dirty="0">
              <a:solidFill>
                <a:schemeClr val="bg1"/>
              </a:solidFill>
              <a:latin typeface="+mj-lt"/>
            </a:endParaRPr>
          </a:p>
        </p:txBody>
      </p:sp>
    </p:spTree>
    <p:extLst>
      <p:ext uri="{BB962C8B-B14F-4D97-AF65-F5344CB8AC3E}">
        <p14:creationId xmlns:p14="http://schemas.microsoft.com/office/powerpoint/2010/main" val="14538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smtClean="0"/>
              <a:t>Azure </a:t>
            </a:r>
            <a:r>
              <a:rPr lang="sv-SE" sz="4400" dirty="0" err="1" smtClean="0"/>
              <a:t>Search</a:t>
            </a:r>
            <a:r>
              <a:rPr lang="sv-SE" sz="4400" dirty="0" smtClean="0"/>
              <a:t> </a:t>
            </a:r>
            <a:r>
              <a:rPr lang="sv-SE" sz="4400" dirty="0" err="1" smtClean="0"/>
              <a:t>walkthrough</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0648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5380"/>
          <a:stretch/>
        </p:blipFill>
        <p:spPr>
          <a:xfrm>
            <a:off x="307428" y="714254"/>
            <a:ext cx="10537437" cy="6023851"/>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Choose Tier</a:t>
            </a:r>
            <a:endParaRPr lang="en-US" dirty="0"/>
          </a:p>
        </p:txBody>
      </p:sp>
      <p:pic>
        <p:nvPicPr>
          <p:cNvPr id="7" name="Picture 6"/>
          <p:cNvPicPr>
            <a:picLocks noChangeAspect="1"/>
          </p:cNvPicPr>
          <p:nvPr/>
        </p:nvPicPr>
        <p:blipFill>
          <a:blip r:embed="rId4"/>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377918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6323" r="35609"/>
          <a:stretch/>
        </p:blipFill>
        <p:spPr>
          <a:xfrm>
            <a:off x="307428" y="714254"/>
            <a:ext cx="7705749" cy="6025626"/>
          </a:xfrm>
          <a:prstGeom prst="rect">
            <a:avLst/>
          </a:prstGeom>
        </p:spPr>
      </p:pic>
      <p:pic>
        <p:nvPicPr>
          <p:cNvPr id="5" name="Picture 4"/>
          <p:cNvPicPr>
            <a:picLocks noChangeAspect="1"/>
          </p:cNvPicPr>
          <p:nvPr/>
        </p:nvPicPr>
        <p:blipFill>
          <a:blip r:embed="rId4"/>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lobal Availability</a:t>
            </a:r>
            <a:endParaRPr lang="en-US" dirty="0"/>
          </a:p>
        </p:txBody>
      </p:sp>
    </p:spTree>
    <p:extLst>
      <p:ext uri="{BB962C8B-B14F-4D97-AF65-F5344CB8AC3E}">
        <p14:creationId xmlns:p14="http://schemas.microsoft.com/office/powerpoint/2010/main" val="312871945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5125"/>
          <a:stretch/>
        </p:blipFill>
        <p:spPr>
          <a:xfrm>
            <a:off x="307428" y="714253"/>
            <a:ext cx="10536658" cy="559195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cale Up</a:t>
            </a:r>
            <a:endParaRPr lang="en-US" dirty="0"/>
          </a:p>
        </p:txBody>
      </p:sp>
    </p:spTree>
    <p:extLst>
      <p:ext uri="{BB962C8B-B14F-4D97-AF65-F5344CB8AC3E}">
        <p14:creationId xmlns:p14="http://schemas.microsoft.com/office/powerpoint/2010/main" val="64119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18711"/>
          <a:stretch/>
        </p:blipFill>
        <p:spPr>
          <a:xfrm>
            <a:off x="307428" y="714254"/>
            <a:ext cx="9725110" cy="6023851"/>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anage Indexes</a:t>
            </a:r>
            <a:endParaRPr lang="en-US" dirty="0"/>
          </a:p>
        </p:txBody>
      </p:sp>
    </p:spTree>
    <p:extLst>
      <p:ext uri="{BB962C8B-B14F-4D97-AF65-F5344CB8AC3E}">
        <p14:creationId xmlns:p14="http://schemas.microsoft.com/office/powerpoint/2010/main" val="3980302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11360793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72077" y="905643"/>
            <a:ext cx="7847847" cy="5046715"/>
            <a:chOff x="151957" y="905643"/>
            <a:chExt cx="7847847" cy="5046715"/>
          </a:xfrm>
        </p:grpSpPr>
        <p:sp>
          <p:nvSpPr>
            <p:cNvPr id="35" name="矩形 34"/>
            <p:cNvSpPr/>
            <p:nvPr/>
          </p:nvSpPr>
          <p:spPr>
            <a:xfrm>
              <a:off x="4729475" y="1200560"/>
              <a:ext cx="266919" cy="519011"/>
            </a:xfrm>
            <a:prstGeom prst="rect">
              <a:avLst/>
            </a:prstGeom>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36" name="矩形 35"/>
            <p:cNvSpPr/>
            <p:nvPr/>
          </p:nvSpPr>
          <p:spPr>
            <a:xfrm>
              <a:off x="5696262" y="4242692"/>
              <a:ext cx="266919" cy="519012"/>
            </a:xfrm>
            <a:prstGeom prst="rect">
              <a:avLst/>
            </a:prstGeom>
            <a:noFill/>
            <a:ln>
              <a:noFill/>
            </a:ln>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4" name="矩形 3"/>
            <p:cNvSpPr/>
            <p:nvPr/>
          </p:nvSpPr>
          <p:spPr>
            <a:xfrm>
              <a:off x="157431" y="905643"/>
              <a:ext cx="3805414" cy="24062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Device  Explosion</a:t>
              </a:r>
            </a:p>
          </p:txBody>
        </p:sp>
        <p:sp>
          <p:nvSpPr>
            <p:cNvPr id="19" name="TextBox 18"/>
            <p:cNvSpPr txBox="1"/>
            <p:nvPr/>
          </p:nvSpPr>
          <p:spPr>
            <a:xfrm>
              <a:off x="157133" y="1991551"/>
              <a:ext cx="3234347" cy="1320373"/>
            </a:xfrm>
            <a:prstGeom prst="rect">
              <a:avLst/>
            </a:prstGeom>
            <a:noFill/>
          </p:spPr>
          <p:txBody>
            <a:bodyPr wrap="square" lIns="0" tIns="0" rIns="0" bIns="0" rtlCol="0" anchor="ctr">
              <a:noAutofit/>
            </a:bodyPr>
            <a:lstStyle/>
            <a:p>
              <a:pPr algn="r" defTabSz="571076">
                <a:lnSpc>
                  <a:spcPct val="9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5.5 </a:t>
              </a:r>
              <a:r>
                <a:rPr lang="en-US" sz="2000" dirty="0" smtClean="0">
                  <a:solidFill>
                    <a:srgbClr val="FFFFFF">
                      <a:alpha val="99000"/>
                    </a:srgbClr>
                  </a:solidFill>
                  <a:latin typeface="+mj-lt"/>
                  <a:ea typeface="Segoe UI" pitchFamily="34" charset="0"/>
                  <a:cs typeface="Segoe UI" pitchFamily="34" charset="0"/>
                </a:rPr>
                <a:t>billion</a:t>
              </a:r>
              <a:br>
                <a:rPr lang="en-US" sz="2000" dirty="0" smtClean="0">
                  <a:solidFill>
                    <a:srgbClr val="FFFFFF">
                      <a:alpha val="99000"/>
                    </a:srgbClr>
                  </a:solidFill>
                  <a:latin typeface="+mj-lt"/>
                  <a:ea typeface="Segoe UI" pitchFamily="34" charset="0"/>
                  <a:cs typeface="Segoe UI" pitchFamily="34" charset="0"/>
                </a:rPr>
              </a:br>
              <a:r>
                <a:rPr lang="en-US" sz="2000" dirty="0" smtClean="0">
                  <a:solidFill>
                    <a:srgbClr val="FFFFFF">
                      <a:alpha val="99000"/>
                    </a:srgbClr>
                  </a:solidFill>
                  <a:latin typeface="+mj-lt"/>
                  <a:ea typeface="Segoe UI" pitchFamily="34" charset="0"/>
                  <a:cs typeface="Segoe UI" pitchFamily="34" charset="0"/>
                </a:rPr>
                <a:t>(</a:t>
              </a:r>
              <a:r>
                <a:rPr lang="en-US" sz="2000" dirty="0">
                  <a:solidFill>
                    <a:srgbClr val="FFFFFF">
                      <a:alpha val="99000"/>
                    </a:srgbClr>
                  </a:solidFill>
                  <a:latin typeface="+mj-lt"/>
                  <a:ea typeface="Segoe UI" pitchFamily="34" charset="0"/>
                  <a:cs typeface="Segoe UI" pitchFamily="34" charset="0"/>
                </a:rPr>
                <a:t>70+% </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of global population</a:t>
              </a:r>
              <a:r>
                <a:rPr lang="en-US" sz="2000" dirty="0">
                  <a:solidFill>
                    <a:srgbClr val="FFFFFF">
                      <a:alpha val="99000"/>
                    </a:srgbClr>
                  </a:solidFill>
                  <a:latin typeface="+mj-lt"/>
                  <a:ea typeface="Segoe UI" pitchFamily="34" charset="0"/>
                  <a:cs typeface="Segoe UI" pitchFamily="34" charset="0"/>
                </a:rPr>
                <a:t>)</a:t>
              </a:r>
            </a:p>
          </p:txBody>
        </p:sp>
        <p:sp>
          <p:nvSpPr>
            <p:cNvPr id="34" name="矩形 33"/>
            <p:cNvSpPr/>
            <p:nvPr/>
          </p:nvSpPr>
          <p:spPr>
            <a:xfrm>
              <a:off x="157133" y="1244080"/>
              <a:ext cx="266919" cy="519011"/>
            </a:xfrm>
            <a:prstGeom prst="rect">
              <a:avLst/>
            </a:prstGeom>
          </p:spPr>
          <p:txBody>
            <a:bodyPr wrap="none">
              <a:noAutofit/>
            </a:bodyPr>
            <a:lstStyle/>
            <a:p>
              <a:pPr defTabSz="1218387"/>
              <a:endParaRPr lang="zh-CN" altLang="en-US" sz="1699" dirty="0">
                <a:solidFill>
                  <a:srgbClr val="FFFFFF"/>
                </a:solidFill>
                <a:latin typeface="+mj-lt"/>
                <a:ea typeface="微软雅黑" pitchFamily="34" charset="-122"/>
              </a:endParaRPr>
            </a:p>
          </p:txBody>
        </p:sp>
        <p:sp>
          <p:nvSpPr>
            <p:cNvPr id="29" name="Down Arrow 19"/>
            <p:cNvSpPr/>
            <p:nvPr/>
          </p:nvSpPr>
          <p:spPr bwMode="auto">
            <a:xfrm flipV="1">
              <a:off x="3391481" y="1991550"/>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5" name="矩形 4"/>
            <p:cNvSpPr/>
            <p:nvPr/>
          </p:nvSpPr>
          <p:spPr>
            <a:xfrm>
              <a:off x="4158342" y="905643"/>
              <a:ext cx="3837824" cy="2415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ocial Networks</a:t>
              </a:r>
            </a:p>
          </p:txBody>
        </p:sp>
        <p:sp>
          <p:nvSpPr>
            <p:cNvPr id="20" name="TextBox 19"/>
            <p:cNvSpPr txBox="1"/>
            <p:nvPr/>
          </p:nvSpPr>
          <p:spPr>
            <a:xfrm>
              <a:off x="4158342" y="2007730"/>
              <a:ext cx="3266459" cy="1310201"/>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a:t>
              </a:r>
              <a:r>
                <a:rPr lang="en-US" altLang="zh-CN" sz="2000" dirty="0">
                  <a:solidFill>
                    <a:srgbClr val="FFFFFF">
                      <a:alpha val="99000"/>
                    </a:srgbClr>
                  </a:solidFill>
                  <a:latin typeface="+mj-lt"/>
                  <a:ea typeface="Segoe UI" pitchFamily="34" charset="0"/>
                  <a:cs typeface="Segoe UI" pitchFamily="34" charset="0"/>
                </a:rPr>
                <a:t>2</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billion</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users</a:t>
              </a:r>
            </a:p>
          </p:txBody>
        </p:sp>
        <p:sp>
          <p:nvSpPr>
            <p:cNvPr id="23" name="Down Arrow 19"/>
            <p:cNvSpPr/>
            <p:nvPr/>
          </p:nvSpPr>
          <p:spPr bwMode="auto">
            <a:xfrm flipV="1">
              <a:off x="7424802" y="2010966"/>
              <a:ext cx="571364" cy="131231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7" name="矩形 6"/>
            <p:cNvSpPr/>
            <p:nvPr/>
          </p:nvSpPr>
          <p:spPr>
            <a:xfrm>
              <a:off x="154694" y="3540384"/>
              <a:ext cx="3805414" cy="2407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Ubiquitous Connection</a:t>
              </a:r>
            </a:p>
          </p:txBody>
        </p:sp>
        <p:sp>
          <p:nvSpPr>
            <p:cNvPr id="28" name="TextBox 27"/>
            <p:cNvSpPr txBox="1"/>
            <p:nvPr/>
          </p:nvSpPr>
          <p:spPr>
            <a:xfrm>
              <a:off x="151957" y="4622683"/>
              <a:ext cx="3244292" cy="132544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Web </a:t>
              </a:r>
              <a:r>
                <a:rPr lang="en-US" altLang="zh-CN" sz="2000" dirty="0">
                  <a:solidFill>
                    <a:srgbClr val="FFFFFF">
                      <a:alpha val="99000"/>
                    </a:srgbClr>
                  </a:solidFill>
                  <a:latin typeface="+mj-lt"/>
                  <a:ea typeface="Segoe UI" pitchFamily="34" charset="0"/>
                  <a:cs typeface="Segoe UI" pitchFamily="34" charset="0"/>
                </a:rPr>
                <a:t>traffic</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0</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6 zettabyte (10 E21) </a:t>
              </a:r>
            </a:p>
          </p:txBody>
        </p:sp>
        <p:sp>
          <p:nvSpPr>
            <p:cNvPr id="24" name="Down Arrow 19"/>
            <p:cNvSpPr/>
            <p:nvPr/>
          </p:nvSpPr>
          <p:spPr bwMode="auto">
            <a:xfrm flipV="1">
              <a:off x="3391481" y="4626034"/>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6" name="矩形 5"/>
            <p:cNvSpPr/>
            <p:nvPr/>
          </p:nvSpPr>
          <p:spPr>
            <a:xfrm>
              <a:off x="4154704" y="3540384"/>
              <a:ext cx="3837827" cy="2407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ensor Networks</a:t>
              </a:r>
            </a:p>
          </p:txBody>
        </p:sp>
        <p:sp>
          <p:nvSpPr>
            <p:cNvPr id="26" name="TextBox 25"/>
            <p:cNvSpPr txBox="1"/>
            <p:nvPr/>
          </p:nvSpPr>
          <p:spPr>
            <a:xfrm>
              <a:off x="4154704" y="4630269"/>
              <a:ext cx="3273736" cy="1317856"/>
            </a:xfrm>
            <a:prstGeom prst="rect">
              <a:avLst/>
            </a:prstGeom>
            <a:noFill/>
            <a:ln>
              <a:noFill/>
            </a:ln>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10 </a:t>
              </a:r>
              <a:r>
                <a:rPr lang="en-US" sz="2000" dirty="0" smtClean="0">
                  <a:solidFill>
                    <a:srgbClr val="FFFFFF">
                      <a:alpha val="99000"/>
                    </a:srgbClr>
                  </a:solidFill>
                  <a:latin typeface="+mj-lt"/>
                  <a:ea typeface="Segoe UI" pitchFamily="34" charset="0"/>
                  <a:cs typeface="Segoe UI" pitchFamily="34" charset="0"/>
                </a:rPr>
                <a:t>billion </a:t>
              </a:r>
              <a:endParaRPr lang="en-US" sz="2000" dirty="0">
                <a:solidFill>
                  <a:srgbClr val="FFFFFF">
                    <a:alpha val="99000"/>
                  </a:srgbClr>
                </a:solidFill>
                <a:latin typeface="+mj-lt"/>
                <a:ea typeface="Segoe UI" pitchFamily="34" charset="0"/>
                <a:cs typeface="Segoe UI" pitchFamily="34" charset="0"/>
              </a:endParaRPr>
            </a:p>
          </p:txBody>
        </p:sp>
        <p:sp>
          <p:nvSpPr>
            <p:cNvPr id="25" name="Down Arrow 19"/>
            <p:cNvSpPr/>
            <p:nvPr/>
          </p:nvSpPr>
          <p:spPr bwMode="auto">
            <a:xfrm flipV="1">
              <a:off x="7428440" y="4630268"/>
              <a:ext cx="571364" cy="1322090"/>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Big Data – Key trends</a:t>
            </a:r>
            <a:endParaRPr lang="en-US" sz="2800" dirty="0"/>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206452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178290" y="2223013"/>
            <a:ext cx="7835419" cy="2411974"/>
            <a:chOff x="2900045" y="1936868"/>
            <a:chExt cx="7835419" cy="2411974"/>
          </a:xfrm>
        </p:grpSpPr>
        <p:sp>
          <p:nvSpPr>
            <p:cNvPr id="8" name="矩形 7"/>
            <p:cNvSpPr/>
            <p:nvPr/>
          </p:nvSpPr>
          <p:spPr>
            <a:xfrm>
              <a:off x="2905323" y="1939715"/>
              <a:ext cx="3837823" cy="240628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Cheap Storage</a:t>
              </a:r>
            </a:p>
          </p:txBody>
        </p:sp>
        <p:sp>
          <p:nvSpPr>
            <p:cNvPr id="32" name="TextBox 31"/>
            <p:cNvSpPr txBox="1"/>
            <p:nvPr/>
          </p:nvSpPr>
          <p:spPr>
            <a:xfrm>
              <a:off x="2900045" y="1939714"/>
              <a:ext cx="3277016" cy="1325962"/>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100 gets you 3 million times more storage in 30 </a:t>
              </a:r>
              <a:r>
                <a:rPr lang="en-US" sz="2000" dirty="0" smtClean="0">
                  <a:solidFill>
                    <a:srgbClr val="FFFFFF">
                      <a:alpha val="99000"/>
                    </a:srgbClr>
                  </a:solidFill>
                  <a:latin typeface="+mj-lt"/>
                  <a:ea typeface="Segoe UI" pitchFamily="34" charset="0"/>
                  <a:cs typeface="Segoe UI" pitchFamily="34" charset="0"/>
                </a:rPr>
                <a:t>years</a:t>
              </a:r>
              <a:endParaRPr lang="en-US" sz="2000" dirty="0">
                <a:solidFill>
                  <a:srgbClr val="FFFFFF">
                    <a:alpha val="99000"/>
                  </a:srgbClr>
                </a:solidFill>
                <a:latin typeface="+mj-lt"/>
                <a:ea typeface="Segoe UI" pitchFamily="34" charset="0"/>
                <a:cs typeface="Segoe UI" pitchFamily="34" charset="0"/>
              </a:endParaRPr>
            </a:p>
          </p:txBody>
        </p:sp>
        <p:sp>
          <p:nvSpPr>
            <p:cNvPr id="30" name="Down Arrow 19"/>
            <p:cNvSpPr/>
            <p:nvPr/>
          </p:nvSpPr>
          <p:spPr bwMode="auto">
            <a:xfrm rot="10800000" flipV="1">
              <a:off x="6177062" y="1939715"/>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9" name="矩形 8"/>
            <p:cNvSpPr/>
            <p:nvPr/>
          </p:nvSpPr>
          <p:spPr>
            <a:xfrm>
              <a:off x="6897637" y="1941100"/>
              <a:ext cx="3837827" cy="24077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Inexpensive Computing</a:t>
              </a:r>
            </a:p>
          </p:txBody>
        </p:sp>
        <p:sp>
          <p:nvSpPr>
            <p:cNvPr id="33" name="TextBox 32"/>
            <p:cNvSpPr txBox="1"/>
            <p:nvPr/>
          </p:nvSpPr>
          <p:spPr>
            <a:xfrm>
              <a:off x="6897638" y="1936868"/>
              <a:ext cx="3271026" cy="133019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1980 </a:t>
              </a:r>
              <a:r>
                <a:rPr lang="en-US" sz="2000" dirty="0">
                  <a:solidFill>
                    <a:srgbClr val="FFFFFF">
                      <a:alpha val="99000"/>
                    </a:srgbClr>
                  </a:solidFill>
                  <a:latin typeface="+mj-lt"/>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0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0 million MIPS/$ </a:t>
              </a:r>
            </a:p>
          </p:txBody>
        </p:sp>
        <p:sp>
          <p:nvSpPr>
            <p:cNvPr id="31" name="Down Arrow 19"/>
            <p:cNvSpPr/>
            <p:nvPr/>
          </p:nvSpPr>
          <p:spPr bwMode="auto">
            <a:xfrm rot="10800000" flipV="1">
              <a:off x="10161390" y="1941100"/>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Big Data – Key trends</a:t>
            </a:r>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697904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7.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7502</TotalTime>
  <Words>16725</Words>
  <Application>Microsoft Office PowerPoint</Application>
  <PresentationFormat>Widescreen</PresentationFormat>
  <Paragraphs>2855</Paragraphs>
  <Slides>193</Slides>
  <Notes>118</Notes>
  <HiddenSlides>86</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2</vt:i4>
      </vt:variant>
      <vt:variant>
        <vt:lpstr>Slide Titles</vt:lpstr>
      </vt:variant>
      <vt:variant>
        <vt:i4>193</vt:i4>
      </vt:variant>
    </vt:vector>
  </HeadingPairs>
  <TitlesOfParts>
    <vt:vector size="218" baseType="lpstr">
      <vt:lpstr>メイリオ</vt:lpstr>
      <vt:lpstr>微软雅黑</vt:lpstr>
      <vt:lpstr>宋体</vt:lpstr>
      <vt:lpstr>Arial</vt:lpstr>
      <vt:lpstr>Arial Bold</vt:lpstr>
      <vt:lpstr>Calibri</vt:lpstr>
      <vt:lpstr>Calibri Light</vt:lpstr>
      <vt:lpstr>Consolas</vt:lpstr>
      <vt:lpstr>Courier New</vt:lpstr>
      <vt:lpstr>Segoe</vt:lpstr>
      <vt:lpstr>Segoe UI</vt:lpstr>
      <vt:lpstr>Segoe UI (Body)</vt:lpstr>
      <vt:lpstr>Segoe UI Light</vt:lpstr>
      <vt:lpstr>Segoe UI Semibold</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Visio</vt:lpstr>
      <vt:lpstr>Azure Data Overview</vt:lpstr>
      <vt:lpstr>PowerPoint Presentation</vt:lpstr>
      <vt:lpstr>SQL Database</vt:lpstr>
      <vt:lpstr>SQL Database</vt:lpstr>
      <vt:lpstr>SQL Database</vt:lpstr>
      <vt:lpstr>PowerPoint Presentation</vt:lpstr>
      <vt:lpstr>Microsoft Azure SQL Database</vt:lpstr>
      <vt:lpstr>PowerPoint Presentation</vt:lpstr>
      <vt:lpstr>Microsoft Azure SQL Database</vt:lpstr>
      <vt:lpstr>A Server is not a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QL Database Security with the Firewall</vt:lpstr>
      <vt:lpstr>Connecting To SQL Database</vt:lpstr>
      <vt:lpstr>SQL Database Considerations and Best Practices</vt:lpstr>
      <vt:lpstr>SQL Database Considerations and Best Practices</vt:lpstr>
      <vt:lpstr>SQL Database Considerations and Best Practices</vt:lpstr>
      <vt:lpstr>Elastic Scale</vt:lpstr>
      <vt:lpstr>PowerPoint Presentation</vt:lpstr>
      <vt:lpstr>SQL Database Considerations and Best Practices</vt:lpstr>
      <vt:lpstr>PowerPoint Presentation</vt:lpstr>
      <vt:lpstr>PowerPoint Presentation</vt:lpstr>
      <vt:lpstr>PowerPoint Presentation</vt:lpstr>
      <vt:lpstr>Microsoft SQL Server on a Virtual Machine</vt:lpstr>
      <vt:lpstr>Run SQL on VM</vt:lpstr>
      <vt:lpstr>PowerPoint Presentation</vt:lpstr>
      <vt:lpstr>PowerPoint Presentation</vt:lpstr>
      <vt:lpstr>NoSQL</vt:lpstr>
      <vt:lpstr>NoSQL is generally more scalable</vt:lpstr>
      <vt:lpstr>NoSQL on Azure</vt:lpstr>
      <vt:lpstr>PowerPoint Presentation</vt:lpstr>
      <vt:lpstr>Microsoft Azure DocumentDB</vt:lpstr>
      <vt:lpstr>Fully managed, scalable JSON document database service</vt:lpstr>
      <vt:lpstr>Microsoft Azure Data Services</vt:lpstr>
      <vt:lpstr>Microsoft Azure Data Services</vt:lpstr>
      <vt:lpstr>PowerPoint Presentation</vt:lpstr>
      <vt:lpstr>Mongo in a VM</vt:lpstr>
      <vt:lpstr>Strong Bounded Stateless Session Eventual</vt:lpstr>
      <vt:lpstr>All writes are visible to all readers. Writes synchronously committed by a majority quorum of replicas and reads are acknowledged by the majority read quorum.</vt:lpstr>
      <vt:lpstr>Guaranteed ordering of writes, reads adhere to minimum freshness. Writes are propagated asynchronously, reads are acknowledged by majority quorum lagging by at most K prefixes.</vt:lpstr>
      <vt:lpstr>Read your own writes. Writes are propagated asynchronously while reads for a session are issued against the replica that can serve the requested version.</vt:lpstr>
      <vt:lpstr>Reads eventually converge with writes. Writes are propagated asynchronously while reads can be acknowledged by any replica. Readers may view older data then previously observ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earch</vt:lpstr>
      <vt:lpstr>Why are we talking about Search?</vt:lpstr>
      <vt:lpstr>Azure Search</vt:lpstr>
      <vt:lpstr>Azure Search</vt:lpstr>
      <vt:lpstr>Azure Sear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DIns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QL Database</vt:lpstr>
      <vt:lpstr>SQL Database Service</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Connecting To SQL Database</vt:lpstr>
      <vt:lpstr>Elastic Scale</vt:lpstr>
      <vt:lpstr>When is Elastic Scale the right consideration?</vt:lpstr>
      <vt:lpstr>PowerPoint Presentation</vt:lpstr>
      <vt:lpstr>Common database scalability patterns</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Experience Walk Through</vt:lpstr>
      <vt:lpstr>Appendix: Experience Walk Through</vt:lpstr>
      <vt:lpstr>Defining Indexes</vt:lpstr>
      <vt:lpstr>Indexing Data</vt:lpstr>
      <vt:lpstr>Appendix: Experience Walk Through</vt:lpstr>
      <vt:lpstr>Searching</vt:lpstr>
      <vt:lpstr>Searching (continued)</vt:lpstr>
      <vt:lpstr>Controlling Relevance</vt:lpstr>
      <vt:lpstr>Microsoft Azure DocumentDB</vt:lpstr>
      <vt:lpstr>DocumentDB Overview</vt:lpstr>
      <vt:lpstr>Proven @ Scale</vt:lpstr>
      <vt:lpstr>PowerPoint Presentation</vt:lpstr>
      <vt:lpstr>PowerPoint Presentation</vt:lpstr>
      <vt:lpstr>PowerPoint Presentation</vt:lpstr>
      <vt:lpstr>PowerPoint Presentation</vt:lpstr>
      <vt:lpstr>Programmability</vt:lpstr>
      <vt:lpstr>HDInsight</vt:lpstr>
      <vt:lpstr>Big Data analytics</vt:lpstr>
      <vt:lpstr>What is Big Data?</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464</cp:revision>
  <cp:lastPrinted>2014-03-26T17:46:13Z</cp:lastPrinted>
  <dcterms:created xsi:type="dcterms:W3CDTF">2014-03-19T23:21:38Z</dcterms:created>
  <dcterms:modified xsi:type="dcterms:W3CDTF">2015-01-20T13:1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